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4"/>
  </p:sldMasterIdLst>
  <p:notesMasterIdLst>
    <p:notesMasterId r:id="rId14"/>
  </p:notesMasterIdLst>
  <p:handoutMasterIdLst>
    <p:handoutMasterId r:id="rId15"/>
  </p:handoutMasterIdLst>
  <p:sldIdLst>
    <p:sldId id="256" r:id="rId5"/>
    <p:sldId id="359" r:id="rId6"/>
    <p:sldId id="369" r:id="rId7"/>
    <p:sldId id="428" r:id="rId8"/>
    <p:sldId id="6459" r:id="rId9"/>
    <p:sldId id="356" r:id="rId10"/>
    <p:sldId id="371" r:id="rId11"/>
    <p:sldId id="6447" r:id="rId12"/>
    <p:sldId id="262" r:id="rId13"/>
  </p:sldIdLst>
  <p:sldSz cx="12192000" cy="6858000"/>
  <p:notesSz cx="6810375" cy="9942513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pon, Silvia" initials="CS" lastIdx="0" clrIdx="0">
    <p:extLst>
      <p:ext uri="{19B8F6BF-5375-455C-9EA6-DF929625EA0E}">
        <p15:presenceInfo xmlns:p15="http://schemas.microsoft.com/office/powerpoint/2012/main" userId="S-1-5-21-2221389989-3851808846-2392671777-998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BFBFBF"/>
    <a:srgbClr val="7F7F7F"/>
    <a:srgbClr val="BF0000"/>
    <a:srgbClr val="D3D3D3"/>
    <a:srgbClr val="021E36"/>
    <a:srgbClr val="63A0DA"/>
    <a:srgbClr val="012748"/>
    <a:srgbClr val="FFFFFF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99A51BF-AD98-4490-A662-9D813633C57F}" v="3" dt="2023-04-18T14:55:24.73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19" autoAdjust="0"/>
    <p:restoredTop sz="91938" autoAdjust="0"/>
  </p:normalViewPr>
  <p:slideViewPr>
    <p:cSldViewPr snapToGrid="0">
      <p:cViewPr>
        <p:scale>
          <a:sx n="100" d="100"/>
          <a:sy n="100" d="100"/>
        </p:scale>
        <p:origin x="810" y="-16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>
        <p:scale>
          <a:sx n="1" d="2"/>
          <a:sy n="1" d="2"/>
        </p:scale>
        <p:origin x="3240" y="930"/>
      </p:cViewPr>
      <p:guideLst>
        <p:guide orient="horz" pos="3132"/>
        <p:guide pos="214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omo, Claudio" userId="ef76c6e2-d490-4122-930c-77cb3a333acb" providerId="ADAL" clId="{699A51BF-AD98-4490-A662-9D813633C57F}"/>
    <pc:docChg chg="custSel delSld modSld">
      <pc:chgData name="Pomo, Claudio" userId="ef76c6e2-d490-4122-930c-77cb3a333acb" providerId="ADAL" clId="{699A51BF-AD98-4490-A662-9D813633C57F}" dt="2023-04-18T14:59:46.197" v="161" actId="113"/>
      <pc:docMkLst>
        <pc:docMk/>
      </pc:docMkLst>
      <pc:sldChg chg="delSp modSp mod">
        <pc:chgData name="Pomo, Claudio" userId="ef76c6e2-d490-4122-930c-77cb3a333acb" providerId="ADAL" clId="{699A51BF-AD98-4490-A662-9D813633C57F}" dt="2023-04-18T14:49:53.937" v="34" actId="478"/>
        <pc:sldMkLst>
          <pc:docMk/>
          <pc:sldMk cId="697691241" sldId="256"/>
        </pc:sldMkLst>
        <pc:spChg chg="del">
          <ac:chgData name="Pomo, Claudio" userId="ef76c6e2-d490-4122-930c-77cb3a333acb" providerId="ADAL" clId="{699A51BF-AD98-4490-A662-9D813633C57F}" dt="2023-04-18T14:49:53.937" v="34" actId="478"/>
          <ac:spMkLst>
            <pc:docMk/>
            <pc:sldMk cId="697691241" sldId="256"/>
            <ac:spMk id="2" creationId="{74001C02-8A67-49CF-A8AF-472B0067C53C}"/>
          </ac:spMkLst>
        </pc:spChg>
        <pc:spChg chg="mod">
          <ac:chgData name="Pomo, Claudio" userId="ef76c6e2-d490-4122-930c-77cb3a333acb" providerId="ADAL" clId="{699A51BF-AD98-4490-A662-9D813633C57F}" dt="2023-04-18T14:49:13.589" v="0"/>
          <ac:spMkLst>
            <pc:docMk/>
            <pc:sldMk cId="697691241" sldId="256"/>
            <ac:spMk id="5" creationId="{00000000-0000-0000-0000-000000000000}"/>
          </ac:spMkLst>
        </pc:spChg>
        <pc:spChg chg="mod">
          <ac:chgData name="Pomo, Claudio" userId="ef76c6e2-d490-4122-930c-77cb3a333acb" providerId="ADAL" clId="{699A51BF-AD98-4490-A662-9D813633C57F}" dt="2023-04-18T14:49:48.234" v="33" actId="6549"/>
          <ac:spMkLst>
            <pc:docMk/>
            <pc:sldMk cId="697691241" sldId="256"/>
            <ac:spMk id="6" creationId="{00000000-0000-0000-0000-000000000000}"/>
          </ac:spMkLst>
        </pc:spChg>
        <pc:spChg chg="del">
          <ac:chgData name="Pomo, Claudio" userId="ef76c6e2-d490-4122-930c-77cb3a333acb" providerId="ADAL" clId="{699A51BF-AD98-4490-A662-9D813633C57F}" dt="2023-04-18T14:49:53.937" v="34" actId="478"/>
          <ac:spMkLst>
            <pc:docMk/>
            <pc:sldMk cId="697691241" sldId="256"/>
            <ac:spMk id="7" creationId="{F69E26E6-4271-4E53-9A1F-AF1A74510B3D}"/>
          </ac:spMkLst>
        </pc:spChg>
      </pc:sldChg>
      <pc:sldChg chg="modSp mod">
        <pc:chgData name="Pomo, Claudio" userId="ef76c6e2-d490-4122-930c-77cb3a333acb" providerId="ADAL" clId="{699A51BF-AD98-4490-A662-9D813633C57F}" dt="2023-04-18T14:59:46.197" v="161" actId="113"/>
        <pc:sldMkLst>
          <pc:docMk/>
          <pc:sldMk cId="2390807642" sldId="356"/>
        </pc:sldMkLst>
        <pc:spChg chg="mod">
          <ac:chgData name="Pomo, Claudio" userId="ef76c6e2-d490-4122-930c-77cb3a333acb" providerId="ADAL" clId="{699A51BF-AD98-4490-A662-9D813633C57F}" dt="2023-04-18T14:59:06.340" v="159" actId="2711"/>
          <ac:spMkLst>
            <pc:docMk/>
            <pc:sldMk cId="2390807642" sldId="356"/>
            <ac:spMk id="4" creationId="{A071B2F2-B10B-4685-94C6-A966C1804B3D}"/>
          </ac:spMkLst>
        </pc:spChg>
        <pc:spChg chg="mod">
          <ac:chgData name="Pomo, Claudio" userId="ef76c6e2-d490-4122-930c-77cb3a333acb" providerId="ADAL" clId="{699A51BF-AD98-4490-A662-9D813633C57F}" dt="2023-04-18T14:59:06.340" v="159" actId="2711"/>
          <ac:spMkLst>
            <pc:docMk/>
            <pc:sldMk cId="2390807642" sldId="356"/>
            <ac:spMk id="9" creationId="{E678B596-E2BC-73A0-7E7B-3CC2A6ACB98C}"/>
          </ac:spMkLst>
        </pc:spChg>
        <pc:spChg chg="mod">
          <ac:chgData name="Pomo, Claudio" userId="ef76c6e2-d490-4122-930c-77cb3a333acb" providerId="ADAL" clId="{699A51BF-AD98-4490-A662-9D813633C57F}" dt="2023-04-18T14:59:06.340" v="159" actId="2711"/>
          <ac:spMkLst>
            <pc:docMk/>
            <pc:sldMk cId="2390807642" sldId="356"/>
            <ac:spMk id="14" creationId="{E27FBF2F-47FA-2D8A-180D-CEA944113CED}"/>
          </ac:spMkLst>
        </pc:spChg>
        <pc:spChg chg="mod">
          <ac:chgData name="Pomo, Claudio" userId="ef76c6e2-d490-4122-930c-77cb3a333acb" providerId="ADAL" clId="{699A51BF-AD98-4490-A662-9D813633C57F}" dt="2023-04-18T14:59:06.340" v="159" actId="2711"/>
          <ac:spMkLst>
            <pc:docMk/>
            <pc:sldMk cId="2390807642" sldId="356"/>
            <ac:spMk id="21" creationId="{4D8EC940-E66B-408E-B662-364CF1859DFE}"/>
          </ac:spMkLst>
        </pc:spChg>
        <pc:spChg chg="mod">
          <ac:chgData name="Pomo, Claudio" userId="ef76c6e2-d490-4122-930c-77cb3a333acb" providerId="ADAL" clId="{699A51BF-AD98-4490-A662-9D813633C57F}" dt="2023-04-18T14:59:46.197" v="161" actId="113"/>
          <ac:spMkLst>
            <pc:docMk/>
            <pc:sldMk cId="2390807642" sldId="356"/>
            <ac:spMk id="23" creationId="{07CD38E6-482C-405C-98F1-38E4738F6A20}"/>
          </ac:spMkLst>
        </pc:spChg>
        <pc:spChg chg="mod">
          <ac:chgData name="Pomo, Claudio" userId="ef76c6e2-d490-4122-930c-77cb3a333acb" providerId="ADAL" clId="{699A51BF-AD98-4490-A662-9D813633C57F}" dt="2023-04-18T14:59:46.197" v="161" actId="113"/>
          <ac:spMkLst>
            <pc:docMk/>
            <pc:sldMk cId="2390807642" sldId="356"/>
            <ac:spMk id="29" creationId="{3A43EEE1-7F8E-8C5A-A2E1-AFD822C0600F}"/>
          </ac:spMkLst>
        </pc:spChg>
        <pc:spChg chg="mod">
          <ac:chgData name="Pomo, Claudio" userId="ef76c6e2-d490-4122-930c-77cb3a333acb" providerId="ADAL" clId="{699A51BF-AD98-4490-A662-9D813633C57F}" dt="2023-04-18T14:59:46.197" v="161" actId="113"/>
          <ac:spMkLst>
            <pc:docMk/>
            <pc:sldMk cId="2390807642" sldId="356"/>
            <ac:spMk id="30" creationId="{D3EB756E-7CF7-5462-B111-F979052AF003}"/>
          </ac:spMkLst>
        </pc:spChg>
        <pc:spChg chg="mod">
          <ac:chgData name="Pomo, Claudio" userId="ef76c6e2-d490-4122-930c-77cb3a333acb" providerId="ADAL" clId="{699A51BF-AD98-4490-A662-9D813633C57F}" dt="2023-04-18T14:59:46.197" v="161" actId="113"/>
          <ac:spMkLst>
            <pc:docMk/>
            <pc:sldMk cId="2390807642" sldId="356"/>
            <ac:spMk id="35" creationId="{A130D2EC-6937-5D51-B3CD-F773F71D1B35}"/>
          </ac:spMkLst>
        </pc:spChg>
        <pc:spChg chg="mod">
          <ac:chgData name="Pomo, Claudio" userId="ef76c6e2-d490-4122-930c-77cb3a333acb" providerId="ADAL" clId="{699A51BF-AD98-4490-A662-9D813633C57F}" dt="2023-04-18T14:59:46.197" v="161" actId="113"/>
          <ac:spMkLst>
            <pc:docMk/>
            <pc:sldMk cId="2390807642" sldId="356"/>
            <ac:spMk id="36" creationId="{DC45C7F6-2204-D86B-D529-7981B84C6A5C}"/>
          </ac:spMkLst>
        </pc:spChg>
      </pc:sldChg>
      <pc:sldChg chg="delSp modSp mod">
        <pc:chgData name="Pomo, Claudio" userId="ef76c6e2-d490-4122-930c-77cb3a333acb" providerId="ADAL" clId="{699A51BF-AD98-4490-A662-9D813633C57F}" dt="2023-04-18T14:56:44.701" v="158" actId="14734"/>
        <pc:sldMkLst>
          <pc:docMk/>
          <pc:sldMk cId="3188027950" sldId="371"/>
        </pc:sldMkLst>
        <pc:spChg chg="del">
          <ac:chgData name="Pomo, Claudio" userId="ef76c6e2-d490-4122-930c-77cb3a333acb" providerId="ADAL" clId="{699A51BF-AD98-4490-A662-9D813633C57F}" dt="2023-04-18T14:56:06.163" v="138" actId="478"/>
          <ac:spMkLst>
            <pc:docMk/>
            <pc:sldMk cId="3188027950" sldId="371"/>
            <ac:spMk id="6" creationId="{7675F160-58D8-4F32-A842-B35DE9ACAF65}"/>
          </ac:spMkLst>
        </pc:spChg>
        <pc:graphicFrameChg chg="modGraphic">
          <ac:chgData name="Pomo, Claudio" userId="ef76c6e2-d490-4122-930c-77cb3a333acb" providerId="ADAL" clId="{699A51BF-AD98-4490-A662-9D813633C57F}" dt="2023-04-18T14:56:44.701" v="158" actId="14734"/>
          <ac:graphicFrameMkLst>
            <pc:docMk/>
            <pc:sldMk cId="3188027950" sldId="371"/>
            <ac:graphicFrameMk id="12" creationId="{F03B2C18-7777-4DB3-A045-04C116B01FAC}"/>
          </ac:graphicFrameMkLst>
        </pc:graphicFrameChg>
      </pc:sldChg>
      <pc:sldChg chg="del">
        <pc:chgData name="Pomo, Claudio" userId="ef76c6e2-d490-4122-930c-77cb3a333acb" providerId="ADAL" clId="{699A51BF-AD98-4490-A662-9D813633C57F}" dt="2023-04-18T14:55:12.361" v="120" actId="47"/>
        <pc:sldMkLst>
          <pc:docMk/>
          <pc:sldMk cId="3387564822" sldId="873"/>
        </pc:sldMkLst>
      </pc:sldChg>
      <pc:sldChg chg="del">
        <pc:chgData name="Pomo, Claudio" userId="ef76c6e2-d490-4122-930c-77cb3a333acb" providerId="ADAL" clId="{699A51BF-AD98-4490-A662-9D813633C57F}" dt="2023-04-18T14:55:33.064" v="121" actId="47"/>
        <pc:sldMkLst>
          <pc:docMk/>
          <pc:sldMk cId="3678499972" sldId="6449"/>
        </pc:sldMkLst>
      </pc:sldChg>
      <pc:sldChg chg="del">
        <pc:chgData name="Pomo, Claudio" userId="ef76c6e2-d490-4122-930c-77cb3a333acb" providerId="ADAL" clId="{699A51BF-AD98-4490-A662-9D813633C57F}" dt="2023-04-18T14:55:33.064" v="121" actId="47"/>
        <pc:sldMkLst>
          <pc:docMk/>
          <pc:sldMk cId="2686131209" sldId="6450"/>
        </pc:sldMkLst>
      </pc:sldChg>
      <pc:sldChg chg="del">
        <pc:chgData name="Pomo, Claudio" userId="ef76c6e2-d490-4122-930c-77cb3a333acb" providerId="ADAL" clId="{699A51BF-AD98-4490-A662-9D813633C57F}" dt="2023-04-18T14:55:33.064" v="121" actId="47"/>
        <pc:sldMkLst>
          <pc:docMk/>
          <pc:sldMk cId="1361337104" sldId="6451"/>
        </pc:sldMkLst>
      </pc:sldChg>
      <pc:sldChg chg="del">
        <pc:chgData name="Pomo, Claudio" userId="ef76c6e2-d490-4122-930c-77cb3a333acb" providerId="ADAL" clId="{699A51BF-AD98-4490-A662-9D813633C57F}" dt="2023-04-18T14:55:33.064" v="121" actId="47"/>
        <pc:sldMkLst>
          <pc:docMk/>
          <pc:sldMk cId="3488159084" sldId="6452"/>
        </pc:sldMkLst>
      </pc:sldChg>
      <pc:sldChg chg="del">
        <pc:chgData name="Pomo, Claudio" userId="ef76c6e2-d490-4122-930c-77cb3a333acb" providerId="ADAL" clId="{699A51BF-AD98-4490-A662-9D813633C57F}" dt="2023-04-18T14:55:33.064" v="121" actId="47"/>
        <pc:sldMkLst>
          <pc:docMk/>
          <pc:sldMk cId="3807539711" sldId="6453"/>
        </pc:sldMkLst>
      </pc:sldChg>
      <pc:sldChg chg="del">
        <pc:chgData name="Pomo, Claudio" userId="ef76c6e2-d490-4122-930c-77cb3a333acb" providerId="ADAL" clId="{699A51BF-AD98-4490-A662-9D813633C57F}" dt="2023-04-18T14:55:33.064" v="121" actId="47"/>
        <pc:sldMkLst>
          <pc:docMk/>
          <pc:sldMk cId="304195615" sldId="6454"/>
        </pc:sldMkLst>
      </pc:sldChg>
      <pc:sldChg chg="del">
        <pc:chgData name="Pomo, Claudio" userId="ef76c6e2-d490-4122-930c-77cb3a333acb" providerId="ADAL" clId="{699A51BF-AD98-4490-A662-9D813633C57F}" dt="2023-04-18T14:55:33.064" v="121" actId="47"/>
        <pc:sldMkLst>
          <pc:docMk/>
          <pc:sldMk cId="2448718104" sldId="6455"/>
        </pc:sldMkLst>
      </pc:sldChg>
      <pc:sldChg chg="del">
        <pc:chgData name="Pomo, Claudio" userId="ef76c6e2-d490-4122-930c-77cb3a333acb" providerId="ADAL" clId="{699A51BF-AD98-4490-A662-9D813633C57F}" dt="2023-04-18T14:55:33.064" v="121" actId="47"/>
        <pc:sldMkLst>
          <pc:docMk/>
          <pc:sldMk cId="1353105787" sldId="6456"/>
        </pc:sldMkLst>
      </pc:sldChg>
      <pc:sldChg chg="del">
        <pc:chgData name="Pomo, Claudio" userId="ef76c6e2-d490-4122-930c-77cb3a333acb" providerId="ADAL" clId="{699A51BF-AD98-4490-A662-9D813633C57F}" dt="2023-04-18T14:55:33.064" v="121" actId="47"/>
        <pc:sldMkLst>
          <pc:docMk/>
          <pc:sldMk cId="308964240" sldId="6457"/>
        </pc:sldMkLst>
      </pc:sldChg>
      <pc:sldChg chg="del">
        <pc:chgData name="Pomo, Claudio" userId="ef76c6e2-d490-4122-930c-77cb3a333acb" providerId="ADAL" clId="{699A51BF-AD98-4490-A662-9D813633C57F}" dt="2023-04-18T14:55:33.064" v="121" actId="47"/>
        <pc:sldMkLst>
          <pc:docMk/>
          <pc:sldMk cId="1903820744" sldId="6458"/>
        </pc:sldMkLst>
      </pc:sldChg>
      <pc:sldChg chg="addSp delSp modSp mod">
        <pc:chgData name="Pomo, Claudio" userId="ef76c6e2-d490-4122-930c-77cb3a333acb" providerId="ADAL" clId="{699A51BF-AD98-4490-A662-9D813633C57F}" dt="2023-04-18T14:54:44.345" v="118" actId="14100"/>
        <pc:sldMkLst>
          <pc:docMk/>
          <pc:sldMk cId="2035234292" sldId="6459"/>
        </pc:sldMkLst>
        <pc:spChg chg="mod">
          <ac:chgData name="Pomo, Claudio" userId="ef76c6e2-d490-4122-930c-77cb3a333acb" providerId="ADAL" clId="{699A51BF-AD98-4490-A662-9D813633C57F}" dt="2023-04-18T14:51:05.103" v="61" actId="20577"/>
          <ac:spMkLst>
            <pc:docMk/>
            <pc:sldMk cId="2035234292" sldId="6459"/>
            <ac:spMk id="3" creationId="{577C083B-820F-4427-A9C0-FE82216251E8}"/>
          </ac:spMkLst>
        </pc:spChg>
        <pc:spChg chg="mod">
          <ac:chgData name="Pomo, Claudio" userId="ef76c6e2-d490-4122-930c-77cb3a333acb" providerId="ADAL" clId="{699A51BF-AD98-4490-A662-9D813633C57F}" dt="2023-04-18T14:52:02.092" v="66" actId="6549"/>
          <ac:spMkLst>
            <pc:docMk/>
            <pc:sldMk cId="2035234292" sldId="6459"/>
            <ac:spMk id="4" creationId="{58DCAF04-438F-4A7E-8E52-F04DE23426E3}"/>
          </ac:spMkLst>
        </pc:spChg>
        <pc:spChg chg="add mod">
          <ac:chgData name="Pomo, Claudio" userId="ef76c6e2-d490-4122-930c-77cb3a333acb" providerId="ADAL" clId="{699A51BF-AD98-4490-A662-9D813633C57F}" dt="2023-04-18T14:54:28.394" v="112" actId="1076"/>
          <ac:spMkLst>
            <pc:docMk/>
            <pc:sldMk cId="2035234292" sldId="6459"/>
            <ac:spMk id="5" creationId="{95292145-2C52-E06C-58B3-04A4B8D35269}"/>
          </ac:spMkLst>
        </pc:spChg>
        <pc:spChg chg="mod">
          <ac:chgData name="Pomo, Claudio" userId="ef76c6e2-d490-4122-930c-77cb3a333acb" providerId="ADAL" clId="{699A51BF-AD98-4490-A662-9D813633C57F}" dt="2023-04-18T14:53:12.196" v="91" actId="6549"/>
          <ac:spMkLst>
            <pc:docMk/>
            <pc:sldMk cId="2035234292" sldId="6459"/>
            <ac:spMk id="8" creationId="{CC9C6C4E-818A-4831-A5E4-AE771FCDCCAF}"/>
          </ac:spMkLst>
        </pc:spChg>
        <pc:spChg chg="mod">
          <ac:chgData name="Pomo, Claudio" userId="ef76c6e2-d490-4122-930c-77cb3a333acb" providerId="ADAL" clId="{699A51BF-AD98-4490-A662-9D813633C57F}" dt="2023-04-18T14:52:21.454" v="69" actId="313"/>
          <ac:spMkLst>
            <pc:docMk/>
            <pc:sldMk cId="2035234292" sldId="6459"/>
            <ac:spMk id="10" creationId="{D5464456-BC1C-4135-B8CA-C8B46BE1FB45}"/>
          </ac:spMkLst>
        </pc:spChg>
        <pc:spChg chg="mod">
          <ac:chgData name="Pomo, Claudio" userId="ef76c6e2-d490-4122-930c-77cb3a333acb" providerId="ADAL" clId="{699A51BF-AD98-4490-A662-9D813633C57F}" dt="2023-04-18T14:53:58.865" v="107" actId="20577"/>
          <ac:spMkLst>
            <pc:docMk/>
            <pc:sldMk cId="2035234292" sldId="6459"/>
            <ac:spMk id="11" creationId="{CBA6F457-3745-499C-AADE-B66B3DEC6486}"/>
          </ac:spMkLst>
        </pc:spChg>
        <pc:spChg chg="del">
          <ac:chgData name="Pomo, Claudio" userId="ef76c6e2-d490-4122-930c-77cb3a333acb" providerId="ADAL" clId="{699A51BF-AD98-4490-A662-9D813633C57F}" dt="2023-04-18T14:50:21.818" v="36" actId="478"/>
          <ac:spMkLst>
            <pc:docMk/>
            <pc:sldMk cId="2035234292" sldId="6459"/>
            <ac:spMk id="12" creationId="{866ECF85-090A-4A9B-A3DD-8763DD6CDB94}"/>
          </ac:spMkLst>
        </pc:spChg>
        <pc:spChg chg="del">
          <ac:chgData name="Pomo, Claudio" userId="ef76c6e2-d490-4122-930c-77cb3a333acb" providerId="ADAL" clId="{699A51BF-AD98-4490-A662-9D813633C57F}" dt="2023-04-18T14:50:18.632" v="35" actId="478"/>
          <ac:spMkLst>
            <pc:docMk/>
            <pc:sldMk cId="2035234292" sldId="6459"/>
            <ac:spMk id="13" creationId="{FE6FD660-F6DC-41DD-B4A5-7CA74B8588CC}"/>
          </ac:spMkLst>
        </pc:spChg>
        <pc:picChg chg="add mod">
          <ac:chgData name="Pomo, Claudio" userId="ef76c6e2-d490-4122-930c-77cb3a333acb" providerId="ADAL" clId="{699A51BF-AD98-4490-A662-9D813633C57F}" dt="2023-04-18T14:54:14.401" v="109" actId="14100"/>
          <ac:picMkLst>
            <pc:docMk/>
            <pc:sldMk cId="2035234292" sldId="6459"/>
            <ac:picMk id="2" creationId="{A6B16AA7-8B6D-3BED-2EF0-1739DC9E38D1}"/>
          </ac:picMkLst>
        </pc:picChg>
        <pc:picChg chg="add mod">
          <ac:chgData name="Pomo, Claudio" userId="ef76c6e2-d490-4122-930c-77cb3a333acb" providerId="ADAL" clId="{699A51BF-AD98-4490-A662-9D813633C57F}" dt="2023-04-18T14:54:36.793" v="116" actId="1076"/>
          <ac:picMkLst>
            <pc:docMk/>
            <pc:sldMk cId="2035234292" sldId="6459"/>
            <ac:picMk id="6" creationId="{AFD0C114-7312-B2AB-9F05-80381B6CCD39}"/>
          </ac:picMkLst>
        </pc:picChg>
        <pc:picChg chg="add mod">
          <ac:chgData name="Pomo, Claudio" userId="ef76c6e2-d490-4122-930c-77cb3a333acb" providerId="ADAL" clId="{699A51BF-AD98-4490-A662-9D813633C57F}" dt="2023-04-18T14:53:27.132" v="93" actId="1076"/>
          <ac:picMkLst>
            <pc:docMk/>
            <pc:sldMk cId="2035234292" sldId="6459"/>
            <ac:picMk id="16" creationId="{C1F37215-BDCE-B9CD-5BDB-1A4E3BE6859B}"/>
          </ac:picMkLst>
        </pc:picChg>
        <pc:picChg chg="add mod">
          <ac:chgData name="Pomo, Claudio" userId="ef76c6e2-d490-4122-930c-77cb3a333acb" providerId="ADAL" clId="{699A51BF-AD98-4490-A662-9D813633C57F}" dt="2023-04-18T14:53:27.132" v="93" actId="1076"/>
          <ac:picMkLst>
            <pc:docMk/>
            <pc:sldMk cId="2035234292" sldId="6459"/>
            <ac:picMk id="17" creationId="{1C1C8CED-BDA5-DA2C-B05C-E5DBCA2E30CD}"/>
          </ac:picMkLst>
        </pc:picChg>
        <pc:picChg chg="add mod">
          <ac:chgData name="Pomo, Claudio" userId="ef76c6e2-d490-4122-930c-77cb3a333acb" providerId="ADAL" clId="{699A51BF-AD98-4490-A662-9D813633C57F}" dt="2023-04-18T14:53:30.846" v="94" actId="14100"/>
          <ac:picMkLst>
            <pc:docMk/>
            <pc:sldMk cId="2035234292" sldId="6459"/>
            <ac:picMk id="18" creationId="{C8B9DBDF-9E25-18FD-A899-6BCFAA08B29D}"/>
          </ac:picMkLst>
        </pc:picChg>
        <pc:cxnChg chg="del mod">
          <ac:chgData name="Pomo, Claudio" userId="ef76c6e2-d490-4122-930c-77cb3a333acb" providerId="ADAL" clId="{699A51BF-AD98-4490-A662-9D813633C57F}" dt="2023-04-18T14:54:01.929" v="108" actId="478"/>
          <ac:cxnSpMkLst>
            <pc:docMk/>
            <pc:sldMk cId="2035234292" sldId="6459"/>
            <ac:cxnSpMk id="14" creationId="{8FBAE016-B858-4400-B483-AEBA558502DA}"/>
          </ac:cxnSpMkLst>
        </pc:cxnChg>
        <pc:cxnChg chg="add mod">
          <ac:chgData name="Pomo, Claudio" userId="ef76c6e2-d490-4122-930c-77cb3a333acb" providerId="ADAL" clId="{699A51BF-AD98-4490-A662-9D813633C57F}" dt="2023-04-18T14:54:44.345" v="118" actId="14100"/>
          <ac:cxnSpMkLst>
            <pc:docMk/>
            <pc:sldMk cId="2035234292" sldId="6459"/>
            <ac:cxnSpMk id="15" creationId="{2651C654-21DB-276E-81FC-6D0008069CF6}"/>
          </ac:cxnSpMkLst>
        </pc:cxnChg>
      </pc:sldChg>
      <pc:sldChg chg="del">
        <pc:chgData name="Pomo, Claudio" userId="ef76c6e2-d490-4122-930c-77cb3a333acb" providerId="ADAL" clId="{699A51BF-AD98-4490-A662-9D813633C57F}" dt="2023-04-18T14:55:06.102" v="119" actId="47"/>
        <pc:sldMkLst>
          <pc:docMk/>
          <pc:sldMk cId="621825220" sldId="6460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1162" cy="49712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r>
              <a:rPr lang="de-DE"/>
              <a:t>Header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7638" y="0"/>
            <a:ext cx="2951162" cy="49712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4/2023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43662"/>
            <a:ext cx="2951162" cy="49712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7638" y="9443662"/>
            <a:ext cx="2951162" cy="49712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1162" cy="49712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r>
              <a:rPr lang="en-GB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7638" y="0"/>
            <a:ext cx="2951162" cy="49712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4/2023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95288" y="917575"/>
            <a:ext cx="6019800" cy="33861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1697" y="4563777"/>
            <a:ext cx="5946982" cy="463304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43662"/>
            <a:ext cx="2951162" cy="49712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r>
              <a:rPr lang="en-GB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7638" y="9443662"/>
            <a:ext cx="2951162" cy="49712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8300" y="900113"/>
            <a:ext cx="5913438" cy="3327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F733B7-1873-49FD-B258-2C7BB301EFB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62685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60400" y="842963"/>
            <a:ext cx="5537200" cy="31146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F733B7-1873-49FD-B258-2C7BB301EFB3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13534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8300" y="900113"/>
            <a:ext cx="5913438" cy="3327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F733B7-1873-49FD-B258-2C7BB301EFB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39618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7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9" imgH="399" progId="TCLayout.ActiveDocument.1">
                  <p:embed/>
                </p:oleObj>
              </mc:Choice>
              <mc:Fallback>
                <p:oleObj name="think-cell Folie" r:id="rId4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863600" y="599650"/>
            <a:ext cx="1074420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63603" y="2156108"/>
            <a:ext cx="8544983" cy="923330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876303" y="6551229"/>
            <a:ext cx="53239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9" name="Picture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0"/>
            <a:ext cx="914400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550813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9" imgH="399" progId="TCLayout.ActiveDocument.1">
                  <p:embed/>
                </p:oleObj>
              </mc:Choice>
              <mc:Fallback>
                <p:oleObj name="think-cell Folie" r:id="rId4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8162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863604" y="1485901"/>
            <a:ext cx="10657417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268120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63601" y="864162"/>
            <a:ext cx="10657419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863601" y="1485901"/>
            <a:ext cx="10657419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911750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>
            <a:extLst>
              <a:ext uri="{FF2B5EF4-FFF2-40B4-BE49-F238E27FC236}">
                <a16:creationId xmlns:a16="http://schemas.microsoft.com/office/drawing/2014/main" id="{BA6555C0-AD99-4049-AAB4-DCF86EA8687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C0504D"/>
          </a:solidFill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863602" y="2507780"/>
            <a:ext cx="10657417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863602" y="3856270"/>
            <a:ext cx="10657417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grpSp>
        <p:nvGrpSpPr>
          <p:cNvPr id="7" name="Gruppieren 6"/>
          <p:cNvGrpSpPr/>
          <p:nvPr userDrawn="1"/>
        </p:nvGrpSpPr>
        <p:grpSpPr>
          <a:xfrm>
            <a:off x="10594258" y="6482242"/>
            <a:ext cx="928073" cy="253111"/>
            <a:chOff x="5549665" y="6206561"/>
            <a:chExt cx="1423860" cy="388326"/>
          </a:xfrm>
        </p:grpSpPr>
        <p:sp>
          <p:nvSpPr>
            <p:cNvPr id="8" name="Freeform 18"/>
            <p:cNvSpPr>
              <a:spLocks/>
            </p:cNvSpPr>
            <p:nvPr/>
          </p:nvSpPr>
          <p:spPr bwMode="auto">
            <a:xfrm>
              <a:off x="5915069" y="6388588"/>
              <a:ext cx="118655" cy="95733"/>
            </a:xfrm>
            <a:custGeom>
              <a:avLst/>
              <a:gdLst>
                <a:gd name="T0" fmla="*/ 29 w 88"/>
                <a:gd name="T1" fmla="*/ 71 h 71"/>
                <a:gd name="T2" fmla="*/ 88 w 88"/>
                <a:gd name="T3" fmla="*/ 0 h 71"/>
                <a:gd name="T4" fmla="*/ 29 w 88"/>
                <a:gd name="T5" fmla="*/ 0 h 71"/>
                <a:gd name="T6" fmla="*/ 0 w 88"/>
                <a:gd name="T7" fmla="*/ 35 h 71"/>
                <a:gd name="T8" fmla="*/ 29 w 88"/>
                <a:gd name="T9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71">
                  <a:moveTo>
                    <a:pt x="29" y="71"/>
                  </a:moveTo>
                  <a:lnTo>
                    <a:pt x="88" y="0"/>
                  </a:lnTo>
                  <a:lnTo>
                    <a:pt x="29" y="0"/>
                  </a:lnTo>
                  <a:lnTo>
                    <a:pt x="0" y="35"/>
                  </a:lnTo>
                  <a:lnTo>
                    <a:pt x="29" y="7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9"/>
            <p:cNvSpPr>
              <a:spLocks noEditPoints="1"/>
            </p:cNvSpPr>
            <p:nvPr/>
          </p:nvSpPr>
          <p:spPr bwMode="auto">
            <a:xfrm>
              <a:off x="5549665" y="6206561"/>
              <a:ext cx="1423860" cy="388326"/>
            </a:xfrm>
            <a:custGeom>
              <a:avLst/>
              <a:gdLst>
                <a:gd name="T0" fmla="*/ 96 w 447"/>
                <a:gd name="T1" fmla="*/ 80 h 122"/>
                <a:gd name="T2" fmla="*/ 82 w 447"/>
                <a:gd name="T3" fmla="*/ 72 h 122"/>
                <a:gd name="T4" fmla="*/ 82 w 447"/>
                <a:gd name="T5" fmla="*/ 103 h 122"/>
                <a:gd name="T6" fmla="*/ 96 w 447"/>
                <a:gd name="T7" fmla="*/ 95 h 122"/>
                <a:gd name="T8" fmla="*/ 46 w 447"/>
                <a:gd name="T9" fmla="*/ 87 h 122"/>
                <a:gd name="T10" fmla="*/ 109 w 447"/>
                <a:gd name="T11" fmla="*/ 65 h 122"/>
                <a:gd name="T12" fmla="*/ 109 w 447"/>
                <a:gd name="T13" fmla="*/ 65 h 122"/>
                <a:gd name="T14" fmla="*/ 0 w 447"/>
                <a:gd name="T15" fmla="*/ 120 h 122"/>
                <a:gd name="T16" fmla="*/ 69 w 447"/>
                <a:gd name="T17" fmla="*/ 120 h 122"/>
                <a:gd name="T18" fmla="*/ 46 w 447"/>
                <a:gd name="T19" fmla="*/ 87 h 122"/>
                <a:gd name="T20" fmla="*/ 114 w 447"/>
                <a:gd name="T21" fmla="*/ 103 h 122"/>
                <a:gd name="T22" fmla="*/ 94 w 447"/>
                <a:gd name="T23" fmla="*/ 120 h 122"/>
                <a:gd name="T24" fmla="*/ 142 w 447"/>
                <a:gd name="T25" fmla="*/ 120 h 122"/>
                <a:gd name="T26" fmla="*/ 140 w 447"/>
                <a:gd name="T27" fmla="*/ 120 h 122"/>
                <a:gd name="T28" fmla="*/ 231 w 447"/>
                <a:gd name="T29" fmla="*/ 69 h 122"/>
                <a:gd name="T30" fmla="*/ 218 w 447"/>
                <a:gd name="T31" fmla="*/ 46 h 122"/>
                <a:gd name="T32" fmla="*/ 254 w 447"/>
                <a:gd name="T33" fmla="*/ 59 h 122"/>
                <a:gd name="T34" fmla="*/ 187 w 447"/>
                <a:gd name="T35" fmla="*/ 57 h 122"/>
                <a:gd name="T36" fmla="*/ 239 w 447"/>
                <a:gd name="T37" fmla="*/ 96 h 122"/>
                <a:gd name="T38" fmla="*/ 202 w 447"/>
                <a:gd name="T39" fmla="*/ 91 h 122"/>
                <a:gd name="T40" fmla="*/ 221 w 447"/>
                <a:gd name="T41" fmla="*/ 122 h 122"/>
                <a:gd name="T42" fmla="*/ 231 w 447"/>
                <a:gd name="T43" fmla="*/ 69 h 122"/>
                <a:gd name="T44" fmla="*/ 335 w 447"/>
                <a:gd name="T45" fmla="*/ 64 h 122"/>
                <a:gd name="T46" fmla="*/ 288 w 447"/>
                <a:gd name="T47" fmla="*/ 88 h 122"/>
                <a:gd name="T48" fmla="*/ 336 w 447"/>
                <a:gd name="T49" fmla="*/ 112 h 122"/>
                <a:gd name="T50" fmla="*/ 336 w 447"/>
                <a:gd name="T51" fmla="*/ 120 h 122"/>
                <a:gd name="T52" fmla="*/ 353 w 447"/>
                <a:gd name="T53" fmla="*/ 33 h 122"/>
                <a:gd name="T54" fmla="*/ 336 w 447"/>
                <a:gd name="T55" fmla="*/ 64 h 122"/>
                <a:gd name="T56" fmla="*/ 306 w 447"/>
                <a:gd name="T57" fmla="*/ 88 h 122"/>
                <a:gd name="T58" fmla="*/ 336 w 447"/>
                <a:gd name="T59" fmla="*/ 88 h 122"/>
                <a:gd name="T60" fmla="*/ 392 w 447"/>
                <a:gd name="T61" fmla="*/ 55 h 122"/>
                <a:gd name="T62" fmla="*/ 392 w 447"/>
                <a:gd name="T63" fmla="*/ 122 h 122"/>
                <a:gd name="T64" fmla="*/ 406 w 447"/>
                <a:gd name="T65" fmla="*/ 101 h 122"/>
                <a:gd name="T66" fmla="*/ 377 w 447"/>
                <a:gd name="T67" fmla="*/ 93 h 122"/>
                <a:gd name="T68" fmla="*/ 392 w 447"/>
                <a:gd name="T69" fmla="*/ 55 h 122"/>
                <a:gd name="T70" fmla="*/ 391 w 447"/>
                <a:gd name="T71" fmla="*/ 68 h 122"/>
                <a:gd name="T72" fmla="*/ 377 w 447"/>
                <a:gd name="T73" fmla="*/ 82 h 122"/>
                <a:gd name="T74" fmla="*/ 447 w 447"/>
                <a:gd name="T75" fmla="*/ 120 h 122"/>
                <a:gd name="T76" fmla="*/ 430 w 447"/>
                <a:gd name="T77" fmla="*/ 33 h 122"/>
                <a:gd name="T78" fmla="*/ 264 w 447"/>
                <a:gd name="T79" fmla="*/ 47 h 122"/>
                <a:gd name="T80" fmla="*/ 281 w 447"/>
                <a:gd name="T81" fmla="*/ 33 h 122"/>
                <a:gd name="T82" fmla="*/ 264 w 447"/>
                <a:gd name="T83" fmla="*/ 47 h 122"/>
                <a:gd name="T84" fmla="*/ 281 w 447"/>
                <a:gd name="T85" fmla="*/ 120 h 122"/>
                <a:gd name="T86" fmla="*/ 264 w 447"/>
                <a:gd name="T87" fmla="*/ 57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47" h="122">
                  <a:moveTo>
                    <a:pt x="102" y="87"/>
                  </a:moveTo>
                  <a:cubicBezTo>
                    <a:pt x="100" y="85"/>
                    <a:pt x="99" y="84"/>
                    <a:pt x="96" y="80"/>
                  </a:cubicBezTo>
                  <a:cubicBezTo>
                    <a:pt x="95" y="79"/>
                    <a:pt x="95" y="79"/>
                    <a:pt x="94" y="78"/>
                  </a:cubicBezTo>
                  <a:cubicBezTo>
                    <a:pt x="91" y="74"/>
                    <a:pt x="86" y="72"/>
                    <a:pt x="82" y="72"/>
                  </a:cubicBezTo>
                  <a:cubicBezTo>
                    <a:pt x="73" y="72"/>
                    <a:pt x="66" y="79"/>
                    <a:pt x="66" y="87"/>
                  </a:cubicBezTo>
                  <a:cubicBezTo>
                    <a:pt x="66" y="96"/>
                    <a:pt x="73" y="103"/>
                    <a:pt x="82" y="103"/>
                  </a:cubicBezTo>
                  <a:cubicBezTo>
                    <a:pt x="86" y="103"/>
                    <a:pt x="91" y="101"/>
                    <a:pt x="94" y="97"/>
                  </a:cubicBezTo>
                  <a:cubicBezTo>
                    <a:pt x="95" y="96"/>
                    <a:pt x="95" y="96"/>
                    <a:pt x="96" y="95"/>
                  </a:cubicBezTo>
                  <a:cubicBezTo>
                    <a:pt x="99" y="91"/>
                    <a:pt x="100" y="89"/>
                    <a:pt x="102" y="87"/>
                  </a:cubicBezTo>
                  <a:moveTo>
                    <a:pt x="46" y="87"/>
                  </a:moveTo>
                  <a:cubicBezTo>
                    <a:pt x="46" y="68"/>
                    <a:pt x="62" y="52"/>
                    <a:pt x="82" y="52"/>
                  </a:cubicBezTo>
                  <a:cubicBezTo>
                    <a:pt x="91" y="52"/>
                    <a:pt x="101" y="56"/>
                    <a:pt x="109" y="65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109" y="65"/>
                    <a:pt x="109" y="65"/>
                    <a:pt x="109" y="65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66" y="119"/>
                    <a:pt x="63" y="117"/>
                    <a:pt x="63" y="117"/>
                  </a:cubicBezTo>
                  <a:cubicBezTo>
                    <a:pt x="53" y="111"/>
                    <a:pt x="46" y="100"/>
                    <a:pt x="46" y="87"/>
                  </a:cubicBezTo>
                  <a:moveTo>
                    <a:pt x="133" y="118"/>
                  </a:moveTo>
                  <a:cubicBezTo>
                    <a:pt x="126" y="115"/>
                    <a:pt x="120" y="109"/>
                    <a:pt x="114" y="103"/>
                  </a:cubicBezTo>
                  <a:cubicBezTo>
                    <a:pt x="114" y="103"/>
                    <a:pt x="111" y="108"/>
                    <a:pt x="107" y="111"/>
                  </a:cubicBezTo>
                  <a:cubicBezTo>
                    <a:pt x="102" y="117"/>
                    <a:pt x="97" y="119"/>
                    <a:pt x="94" y="120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2" y="120"/>
                    <a:pt x="142" y="120"/>
                  </a:cubicBezTo>
                  <a:cubicBezTo>
                    <a:pt x="142" y="120"/>
                    <a:pt x="141" y="120"/>
                    <a:pt x="140" y="120"/>
                  </a:cubicBezTo>
                  <a:cubicBezTo>
                    <a:pt x="137" y="119"/>
                    <a:pt x="134" y="118"/>
                    <a:pt x="133" y="118"/>
                  </a:cubicBezTo>
                  <a:moveTo>
                    <a:pt x="231" y="69"/>
                  </a:moveTo>
                  <a:cubicBezTo>
                    <a:pt x="209" y="63"/>
                    <a:pt x="205" y="62"/>
                    <a:pt x="205" y="55"/>
                  </a:cubicBezTo>
                  <a:cubicBezTo>
                    <a:pt x="205" y="48"/>
                    <a:pt x="212" y="46"/>
                    <a:pt x="218" y="46"/>
                  </a:cubicBezTo>
                  <a:cubicBezTo>
                    <a:pt x="228" y="46"/>
                    <a:pt x="235" y="48"/>
                    <a:pt x="236" y="59"/>
                  </a:cubicBezTo>
                  <a:cubicBezTo>
                    <a:pt x="254" y="59"/>
                    <a:pt x="254" y="59"/>
                    <a:pt x="254" y="59"/>
                  </a:cubicBezTo>
                  <a:cubicBezTo>
                    <a:pt x="254" y="39"/>
                    <a:pt x="238" y="31"/>
                    <a:pt x="219" y="31"/>
                  </a:cubicBezTo>
                  <a:cubicBezTo>
                    <a:pt x="204" y="31"/>
                    <a:pt x="187" y="39"/>
                    <a:pt x="187" y="57"/>
                  </a:cubicBezTo>
                  <a:cubicBezTo>
                    <a:pt x="187" y="73"/>
                    <a:pt x="200" y="78"/>
                    <a:pt x="213" y="82"/>
                  </a:cubicBezTo>
                  <a:cubicBezTo>
                    <a:pt x="226" y="85"/>
                    <a:pt x="239" y="87"/>
                    <a:pt x="239" y="96"/>
                  </a:cubicBezTo>
                  <a:cubicBezTo>
                    <a:pt x="239" y="105"/>
                    <a:pt x="228" y="107"/>
                    <a:pt x="222" y="107"/>
                  </a:cubicBezTo>
                  <a:cubicBezTo>
                    <a:pt x="211" y="107"/>
                    <a:pt x="202" y="103"/>
                    <a:pt x="202" y="91"/>
                  </a:cubicBezTo>
                  <a:cubicBezTo>
                    <a:pt x="184" y="91"/>
                    <a:pt x="184" y="91"/>
                    <a:pt x="184" y="91"/>
                  </a:cubicBezTo>
                  <a:cubicBezTo>
                    <a:pt x="183" y="113"/>
                    <a:pt x="202" y="122"/>
                    <a:pt x="221" y="122"/>
                  </a:cubicBezTo>
                  <a:cubicBezTo>
                    <a:pt x="245" y="122"/>
                    <a:pt x="257" y="110"/>
                    <a:pt x="257" y="94"/>
                  </a:cubicBezTo>
                  <a:cubicBezTo>
                    <a:pt x="257" y="74"/>
                    <a:pt x="238" y="70"/>
                    <a:pt x="231" y="69"/>
                  </a:cubicBezTo>
                  <a:moveTo>
                    <a:pt x="336" y="64"/>
                  </a:moveTo>
                  <a:cubicBezTo>
                    <a:pt x="335" y="64"/>
                    <a:pt x="335" y="64"/>
                    <a:pt x="335" y="64"/>
                  </a:cubicBezTo>
                  <a:cubicBezTo>
                    <a:pt x="331" y="58"/>
                    <a:pt x="324" y="55"/>
                    <a:pt x="317" y="55"/>
                  </a:cubicBezTo>
                  <a:cubicBezTo>
                    <a:pt x="298" y="55"/>
                    <a:pt x="288" y="71"/>
                    <a:pt x="288" y="88"/>
                  </a:cubicBezTo>
                  <a:cubicBezTo>
                    <a:pt x="288" y="105"/>
                    <a:pt x="298" y="122"/>
                    <a:pt x="317" y="122"/>
                  </a:cubicBezTo>
                  <a:cubicBezTo>
                    <a:pt x="325" y="122"/>
                    <a:pt x="332" y="119"/>
                    <a:pt x="336" y="112"/>
                  </a:cubicBezTo>
                  <a:cubicBezTo>
                    <a:pt x="336" y="112"/>
                    <a:pt x="336" y="112"/>
                    <a:pt x="336" y="112"/>
                  </a:cubicBezTo>
                  <a:cubicBezTo>
                    <a:pt x="336" y="120"/>
                    <a:pt x="336" y="120"/>
                    <a:pt x="336" y="120"/>
                  </a:cubicBezTo>
                  <a:cubicBezTo>
                    <a:pt x="353" y="120"/>
                    <a:pt x="353" y="120"/>
                    <a:pt x="353" y="120"/>
                  </a:cubicBezTo>
                  <a:cubicBezTo>
                    <a:pt x="353" y="33"/>
                    <a:pt x="353" y="33"/>
                    <a:pt x="353" y="33"/>
                  </a:cubicBezTo>
                  <a:cubicBezTo>
                    <a:pt x="336" y="33"/>
                    <a:pt x="336" y="33"/>
                    <a:pt x="336" y="33"/>
                  </a:cubicBezTo>
                  <a:lnTo>
                    <a:pt x="336" y="64"/>
                  </a:lnTo>
                  <a:close/>
                  <a:moveTo>
                    <a:pt x="321" y="109"/>
                  </a:moveTo>
                  <a:cubicBezTo>
                    <a:pt x="310" y="109"/>
                    <a:pt x="306" y="98"/>
                    <a:pt x="306" y="88"/>
                  </a:cubicBezTo>
                  <a:cubicBezTo>
                    <a:pt x="306" y="78"/>
                    <a:pt x="310" y="68"/>
                    <a:pt x="321" y="68"/>
                  </a:cubicBezTo>
                  <a:cubicBezTo>
                    <a:pt x="332" y="68"/>
                    <a:pt x="336" y="78"/>
                    <a:pt x="336" y="88"/>
                  </a:cubicBezTo>
                  <a:cubicBezTo>
                    <a:pt x="336" y="99"/>
                    <a:pt x="333" y="109"/>
                    <a:pt x="321" y="109"/>
                  </a:cubicBezTo>
                  <a:moveTo>
                    <a:pt x="392" y="55"/>
                  </a:moveTo>
                  <a:cubicBezTo>
                    <a:pt x="372" y="55"/>
                    <a:pt x="359" y="70"/>
                    <a:pt x="359" y="89"/>
                  </a:cubicBezTo>
                  <a:cubicBezTo>
                    <a:pt x="359" y="108"/>
                    <a:pt x="372" y="122"/>
                    <a:pt x="392" y="122"/>
                  </a:cubicBezTo>
                  <a:cubicBezTo>
                    <a:pt x="406" y="122"/>
                    <a:pt x="416" y="115"/>
                    <a:pt x="421" y="101"/>
                  </a:cubicBezTo>
                  <a:cubicBezTo>
                    <a:pt x="406" y="101"/>
                    <a:pt x="406" y="101"/>
                    <a:pt x="406" y="101"/>
                  </a:cubicBezTo>
                  <a:cubicBezTo>
                    <a:pt x="405" y="104"/>
                    <a:pt x="399" y="109"/>
                    <a:pt x="392" y="109"/>
                  </a:cubicBezTo>
                  <a:cubicBezTo>
                    <a:pt x="383" y="109"/>
                    <a:pt x="377" y="104"/>
                    <a:pt x="377" y="93"/>
                  </a:cubicBezTo>
                  <a:cubicBezTo>
                    <a:pt x="422" y="93"/>
                    <a:pt x="422" y="93"/>
                    <a:pt x="422" y="93"/>
                  </a:cubicBezTo>
                  <a:cubicBezTo>
                    <a:pt x="424" y="73"/>
                    <a:pt x="413" y="55"/>
                    <a:pt x="392" y="55"/>
                  </a:cubicBezTo>
                  <a:moveTo>
                    <a:pt x="377" y="82"/>
                  </a:moveTo>
                  <a:cubicBezTo>
                    <a:pt x="377" y="77"/>
                    <a:pt x="380" y="68"/>
                    <a:pt x="391" y="68"/>
                  </a:cubicBezTo>
                  <a:cubicBezTo>
                    <a:pt x="400" y="68"/>
                    <a:pt x="403" y="73"/>
                    <a:pt x="405" y="82"/>
                  </a:cubicBezTo>
                  <a:lnTo>
                    <a:pt x="377" y="82"/>
                  </a:lnTo>
                  <a:close/>
                  <a:moveTo>
                    <a:pt x="430" y="120"/>
                  </a:moveTo>
                  <a:cubicBezTo>
                    <a:pt x="447" y="120"/>
                    <a:pt x="447" y="120"/>
                    <a:pt x="447" y="120"/>
                  </a:cubicBezTo>
                  <a:cubicBezTo>
                    <a:pt x="447" y="33"/>
                    <a:pt x="447" y="33"/>
                    <a:pt x="447" y="33"/>
                  </a:cubicBezTo>
                  <a:cubicBezTo>
                    <a:pt x="430" y="33"/>
                    <a:pt x="430" y="33"/>
                    <a:pt x="430" y="33"/>
                  </a:cubicBezTo>
                  <a:lnTo>
                    <a:pt x="430" y="120"/>
                  </a:lnTo>
                  <a:close/>
                  <a:moveTo>
                    <a:pt x="264" y="47"/>
                  </a:moveTo>
                  <a:cubicBezTo>
                    <a:pt x="281" y="47"/>
                    <a:pt x="281" y="47"/>
                    <a:pt x="281" y="47"/>
                  </a:cubicBezTo>
                  <a:cubicBezTo>
                    <a:pt x="281" y="33"/>
                    <a:pt x="281" y="33"/>
                    <a:pt x="281" y="33"/>
                  </a:cubicBezTo>
                  <a:cubicBezTo>
                    <a:pt x="264" y="33"/>
                    <a:pt x="264" y="33"/>
                    <a:pt x="264" y="33"/>
                  </a:cubicBezTo>
                  <a:lnTo>
                    <a:pt x="264" y="47"/>
                  </a:lnTo>
                  <a:close/>
                  <a:moveTo>
                    <a:pt x="264" y="120"/>
                  </a:moveTo>
                  <a:cubicBezTo>
                    <a:pt x="281" y="120"/>
                    <a:pt x="281" y="120"/>
                    <a:pt x="281" y="120"/>
                  </a:cubicBezTo>
                  <a:cubicBezTo>
                    <a:pt x="281" y="57"/>
                    <a:pt x="281" y="57"/>
                    <a:pt x="281" y="57"/>
                  </a:cubicBezTo>
                  <a:cubicBezTo>
                    <a:pt x="264" y="57"/>
                    <a:pt x="264" y="57"/>
                    <a:pt x="264" y="57"/>
                  </a:cubicBezTo>
                  <a:lnTo>
                    <a:pt x="264" y="12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9355996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9" imgH="399" progId="TCLayout.ActiveDocument.1">
                  <p:embed/>
                </p:oleObj>
              </mc:Choice>
              <mc:Fallback>
                <p:oleObj name="think-cell Folie" r:id="rId4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magine 3" descr="RetroMKTGstatement16x9new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38" y="0"/>
            <a:ext cx="12176562" cy="68707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234554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4000" y="334800"/>
            <a:ext cx="10656000" cy="4616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0051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863604" y="334805"/>
            <a:ext cx="10657417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863602" y="1489077"/>
            <a:ext cx="10657417" cy="4495799"/>
          </a:xfrm>
        </p:spPr>
        <p:txBody>
          <a:bodyPr/>
          <a:lstStyle/>
          <a:p>
            <a:pPr lvl="0"/>
            <a:r>
              <a:rPr lang="en-GB" noProof="0"/>
              <a:t>Click in the icon to add an im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76911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99" imgH="399" progId="TCLayout.ActiveDocument.1">
                  <p:embed/>
                </p:oleObj>
              </mc:Choice>
              <mc:Fallback>
                <p:oleObj name="think-cell Folie" r:id="rId12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63600" y="334805"/>
            <a:ext cx="10659533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63604" y="1485901"/>
            <a:ext cx="10657417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863604" y="6471709"/>
            <a:ext cx="47473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863604" y="6381750"/>
            <a:ext cx="10657417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magine 15" descr="SidelLogoRGB.png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0748" y="6483582"/>
            <a:ext cx="938152" cy="256947"/>
          </a:xfrm>
          <a:prstGeom prst="rect">
            <a:avLst/>
          </a:prstGeom>
        </p:spPr>
      </p:pic>
      <p:sp>
        <p:nvSpPr>
          <p:cNvPr id="5" name="MSIPCMContentMarking" descr="{&quot;HashCode&quot;:238546008,&quot;Placement&quot;:&quot;Footer&quot;,&quot;Top&quot;:524.1047,&quot;Left&quot;:458.909119,&quot;SlideWidth&quot;:960,&quot;SlideHeight&quot;:540}">
            <a:extLst>
              <a:ext uri="{FF2B5EF4-FFF2-40B4-BE49-F238E27FC236}">
                <a16:creationId xmlns:a16="http://schemas.microsoft.com/office/drawing/2014/main" id="{AC222884-F487-4FB8-9FC2-220FFAFC394C}"/>
              </a:ext>
            </a:extLst>
          </p:cNvPr>
          <p:cNvSpPr txBox="1"/>
          <p:nvPr userDrawn="1"/>
        </p:nvSpPr>
        <p:spPr>
          <a:xfrm>
            <a:off x="5828146" y="6656129"/>
            <a:ext cx="535708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7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7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17551242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68" r:id="rId7"/>
    <p:sldLayoutId id="2147483769" r:id="rId8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Arial Nova Cond" panose="020B0506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Arial Nova Cond" panose="020B0506020202020204" pitchFamily="34" charset="0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 Nova Cond" panose="020B0506020202020204" pitchFamily="34" charset="0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 Nova Cond" panose="020B0506020202020204" pitchFamily="34" charset="0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 Nova Cond" panose="020B0506020202020204" pitchFamily="34" charset="0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 Nova Cond" panose="020B0506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3809">
          <p15:clr>
            <a:srgbClr val="F26B43"/>
          </p15:clr>
        </p15:guide>
        <p15:guide id="3" pos="544">
          <p15:clr>
            <a:srgbClr val="F26B43"/>
          </p15:clr>
        </p15:guide>
        <p15:guide id="4" pos="3991">
          <p15:clr>
            <a:srgbClr val="F26B43"/>
          </p15:clr>
        </p15:guide>
        <p15:guide id="5" pos="7257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7408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72">
          <p15:clr>
            <a:srgbClr val="F26B43"/>
          </p15:clr>
        </p15:guide>
        <p15:guide id="12" pos="390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1.xml"/><Relationship Id="rId6" Type="http://schemas.openxmlformats.org/officeDocument/2006/relationships/image" Target="../media/image14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19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863600" y="599650"/>
            <a:ext cx="10744200" cy="615553"/>
          </a:xfrm>
        </p:spPr>
        <p:txBody>
          <a:bodyPr/>
          <a:lstStyle/>
          <a:p>
            <a:r>
              <a:rPr lang="en-US" dirty="0"/>
              <a:t>Neck ventilation at the end of the oven</a:t>
            </a:r>
            <a:endParaRPr lang="en-GB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863603" y="2156108"/>
            <a:ext cx="10913428" cy="2154436"/>
          </a:xfrm>
        </p:spPr>
        <p:txBody>
          <a:bodyPr vert="horz" wrap="square" lIns="0" tIns="0" rIns="0" bIns="0" rtlCol="0" anchor="t">
            <a:spAutoFit/>
          </a:bodyPr>
          <a:lstStyle/>
          <a:p>
            <a:pPr lvl="0"/>
            <a:r>
              <a:rPr lang="en-GB" b="1" dirty="0"/>
              <a:t>Line Improvement: Blower Series 2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April 2023</a:t>
            </a:r>
          </a:p>
          <a:p>
            <a:pPr lvl="0"/>
            <a:endParaRPr lang="fr-FR" dirty="0">
              <a:cs typeface="Arial"/>
            </a:endParaRPr>
          </a:p>
          <a:p>
            <a:pPr lvl="0"/>
            <a:r>
              <a:rPr lang="fr-FR" dirty="0">
                <a:cs typeface="Arial"/>
              </a:rPr>
              <a:t>Sidel Services</a:t>
            </a:r>
            <a:endParaRPr lang="en-GB" dirty="0">
              <a:cs typeface="Arial"/>
            </a:endParaRPr>
          </a:p>
          <a:p>
            <a:pPr lvl="0"/>
            <a:endParaRPr lang="en-GB" b="0" dirty="0"/>
          </a:p>
          <a:p>
            <a:pPr lvl="0"/>
            <a:endParaRPr lang="en-GB" b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76912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2700"/>
            <a:ext cx="12192000" cy="6389849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 flipV="1">
            <a:off x="0" y="0"/>
            <a:ext cx="12192000" cy="2420892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1000">
                <a:srgbClr val="FFFFFF">
                  <a:alpha val="0"/>
                </a:srgbClr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3070" y="293704"/>
            <a:ext cx="7992000" cy="461665"/>
          </a:xfrm>
        </p:spPr>
        <p:txBody>
          <a:bodyPr/>
          <a:lstStyle/>
          <a:p>
            <a:r>
              <a:rPr lang="en-GB" dirty="0"/>
              <a:t>Service package: all you can need!</a:t>
            </a:r>
          </a:p>
        </p:txBody>
      </p:sp>
    </p:spTree>
    <p:extLst>
      <p:ext uri="{BB962C8B-B14F-4D97-AF65-F5344CB8AC3E}">
        <p14:creationId xmlns:p14="http://schemas.microsoft.com/office/powerpoint/2010/main" val="152626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94428E0-5E38-44D2-B424-0206FF89E30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7029" y="-19142"/>
            <a:ext cx="12219029" cy="6414412"/>
          </a:xfrm>
          <a:prstGeom prst="rect">
            <a:avLst/>
          </a:prstGeom>
        </p:spPr>
      </p:pic>
      <p:sp>
        <p:nvSpPr>
          <p:cNvPr id="4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63188" y="3324374"/>
            <a:ext cx="2869641" cy="1859584"/>
          </a:xfrm>
          <a:prstGeom prst="rect">
            <a:avLst/>
          </a:prstGeom>
          <a:solidFill>
            <a:srgbClr val="000000">
              <a:alpha val="65097"/>
            </a:srgbClr>
          </a:solidFill>
          <a:ln w="9525">
            <a:solidFill>
              <a:srgbClr val="E64B00"/>
            </a:solidFill>
            <a:miter lim="800000"/>
            <a:headEnd/>
            <a:tailEnd/>
          </a:ln>
        </p:spPr>
        <p:txBody>
          <a:bodyPr wrap="square" tIns="108000" bIns="108000">
            <a:spAutoFit/>
          </a:bodyPr>
          <a:lstStyle/>
          <a:p>
            <a:pPr marL="182563" lvl="1" indent="-182563">
              <a:spcBef>
                <a:spcPts val="8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GB" sz="1600" dirty="0">
                <a:solidFill>
                  <a:schemeClr val="bg1"/>
                </a:solidFill>
                <a:latin typeface="Arial Nova Cond" panose="020B0506020202020204" pitchFamily="34" charset="0"/>
              </a:rPr>
              <a:t>Options</a:t>
            </a:r>
          </a:p>
          <a:p>
            <a:pPr marL="182563" lvl="1" indent="-182563">
              <a:spcBef>
                <a:spcPts val="8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GB" sz="1600" dirty="0">
                <a:solidFill>
                  <a:schemeClr val="bg1"/>
                </a:solidFill>
                <a:latin typeface="Arial Nova Cond" panose="020B0506020202020204" pitchFamily="34" charset="0"/>
              </a:rPr>
              <a:t>Upgrades</a:t>
            </a:r>
          </a:p>
          <a:p>
            <a:pPr marL="182563" lvl="1" indent="-182563">
              <a:spcBef>
                <a:spcPts val="8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GB" sz="1600" dirty="0">
                <a:solidFill>
                  <a:schemeClr val="bg1"/>
                </a:solidFill>
                <a:latin typeface="Arial Nova Cond" panose="020B0506020202020204" pitchFamily="34" charset="0"/>
              </a:rPr>
              <a:t>Remote data analysis</a:t>
            </a:r>
          </a:p>
          <a:p>
            <a:pPr marL="182563" lvl="1" indent="-182563">
              <a:spcBef>
                <a:spcPts val="8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GB" sz="1600" dirty="0">
                <a:solidFill>
                  <a:schemeClr val="bg1"/>
                </a:solidFill>
                <a:latin typeface="Arial Nova Cond" panose="020B0506020202020204" pitchFamily="34" charset="0"/>
              </a:rPr>
              <a:t>Line audits</a:t>
            </a:r>
          </a:p>
          <a:p>
            <a:pPr marL="182563" lvl="1" indent="-182563">
              <a:spcBef>
                <a:spcPts val="8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GB" sz="1600" dirty="0">
                <a:solidFill>
                  <a:schemeClr val="bg1"/>
                </a:solidFill>
                <a:latin typeface="Arial Nova Cond" panose="020B0506020202020204" pitchFamily="34" charset="0"/>
              </a:rPr>
              <a:t>Second-hand equipment</a:t>
            </a:r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463189" y="2805538"/>
            <a:ext cx="2869641" cy="504825"/>
          </a:xfrm>
          <a:prstGeom prst="rect">
            <a:avLst/>
          </a:prstGeom>
          <a:solidFill>
            <a:srgbClr val="E64B00"/>
          </a:solidFill>
          <a:ln w="9525">
            <a:solidFill>
              <a:srgbClr val="E64B00"/>
            </a:solidFill>
            <a:miter lim="800000"/>
            <a:headEnd/>
            <a:tailEnd/>
          </a:ln>
        </p:spPr>
        <p:txBody>
          <a:bodyPr tIns="46800" anchor="ctr"/>
          <a:lstStyle/>
          <a:p>
            <a:r>
              <a:rPr lang="en-GB" sz="2000" b="1" dirty="0">
                <a:solidFill>
                  <a:srgbClr val="FFFFFF"/>
                </a:solidFill>
                <a:latin typeface="Arial Nova Cond" panose="020B0506020202020204" pitchFamily="34" charset="0"/>
              </a:rPr>
              <a:t>The full package</a:t>
            </a:r>
          </a:p>
        </p:txBody>
      </p:sp>
      <p:sp>
        <p:nvSpPr>
          <p:cNvPr id="8" name="Rectangle 3"/>
          <p:cNvSpPr/>
          <p:nvPr/>
        </p:nvSpPr>
        <p:spPr>
          <a:xfrm flipV="1">
            <a:off x="-27029" y="-31842"/>
            <a:ext cx="12243454" cy="1668165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1000">
                <a:srgbClr val="FFFFFF">
                  <a:alpha val="0"/>
                </a:srgbClr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002293C-A699-4A8E-8BB4-18C76C17C92D}"/>
              </a:ext>
            </a:extLst>
          </p:cNvPr>
          <p:cNvSpPr txBox="1">
            <a:spLocks/>
          </p:cNvSpPr>
          <p:nvPr/>
        </p:nvSpPr>
        <p:spPr>
          <a:xfrm>
            <a:off x="764438" y="258334"/>
            <a:ext cx="79920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Arial Nova Cond" panose="020B0506020202020204" pitchFamily="34" charset="0"/>
              </a:rPr>
              <a:t>Line improvement</a:t>
            </a:r>
            <a:br>
              <a:rPr lang="en-US" dirty="0">
                <a:latin typeface="Arial Nova Cond" panose="020B0506020202020204" pitchFamily="34" charset="0"/>
              </a:rPr>
            </a:br>
            <a:r>
              <a:rPr lang="en-US" b="0" dirty="0">
                <a:latin typeface="Arial Nova Cond" panose="020B0506020202020204" pitchFamily="34" charset="0"/>
              </a:rPr>
              <a:t>Time to increase your resource efficiency</a:t>
            </a:r>
            <a:endParaRPr lang="en-GB" dirty="0">
              <a:latin typeface="Arial Nova Cond" panose="020B0506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2735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FD7A98-218D-4B92-82FA-CE1FE34A6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4B8A0D46-F70A-4DE9-803A-D88AB82082B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-1" y="0"/>
            <a:ext cx="12192000" cy="639566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4213665D-A090-4D76-9C7B-5E4D8F65E82C}"/>
              </a:ext>
            </a:extLst>
          </p:cNvPr>
          <p:cNvSpPr txBox="1">
            <a:spLocks/>
          </p:cNvSpPr>
          <p:nvPr/>
        </p:nvSpPr>
        <p:spPr>
          <a:xfrm>
            <a:off x="864000" y="334800"/>
            <a:ext cx="849600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Arial Nova Cond" panose="020B0506020202020204" pitchFamily="34" charset="0"/>
              </a:rPr>
              <a:t>Sidel Options &amp; Upgrades</a:t>
            </a:r>
            <a:br>
              <a:rPr lang="en-US" dirty="0">
                <a:latin typeface="Arial Nova Cond" panose="020B0506020202020204" pitchFamily="34" charset="0"/>
              </a:rPr>
            </a:br>
            <a:r>
              <a:rPr lang="en-US" b="0" dirty="0">
                <a:latin typeface="Arial Nova Cond" panose="020B0506020202020204" pitchFamily="34" charset="0"/>
              </a:rPr>
              <a:t>Made for you and your line</a:t>
            </a:r>
            <a:endParaRPr lang="en-GB" b="0" dirty="0">
              <a:latin typeface="Arial Nova Cond" panose="020B0506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2350C2A-C685-4920-9D86-1B774ED8A79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864000" y="2372548"/>
            <a:ext cx="4075667" cy="1510771"/>
          </a:xfrm>
          <a:prstGeom prst="rect">
            <a:avLst/>
          </a:prstGeom>
          <a:solidFill>
            <a:srgbClr val="000000">
              <a:alpha val="65097"/>
            </a:srgbClr>
          </a:solidFill>
          <a:ln w="9525">
            <a:solidFill>
              <a:srgbClr val="E64B00"/>
            </a:solidFill>
            <a:miter lim="800000"/>
            <a:headEnd/>
            <a:tailEnd/>
          </a:ln>
        </p:spPr>
        <p:txBody>
          <a:bodyPr tIns="108000" bIns="108000">
            <a:spAutoFit/>
          </a:bodyPr>
          <a:lstStyle/>
          <a:p>
            <a:pPr marL="182563" lvl="1" indent="-182563">
              <a:spcBef>
                <a:spcPts val="8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600" dirty="0">
                <a:solidFill>
                  <a:schemeClr val="bg1"/>
                </a:solidFill>
                <a:latin typeface="Arial Nova Cond" panose="020B0506020202020204" pitchFamily="34" charset="0"/>
              </a:rPr>
              <a:t>Boost product quality</a:t>
            </a:r>
          </a:p>
          <a:p>
            <a:pPr marL="182563" lvl="1" indent="-182563">
              <a:spcBef>
                <a:spcPts val="8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600" dirty="0">
                <a:solidFill>
                  <a:schemeClr val="bg1"/>
                </a:solidFill>
                <a:latin typeface="Arial Nova Cond" panose="020B0506020202020204" pitchFamily="34" charset="0"/>
              </a:rPr>
              <a:t>Increase efficiency</a:t>
            </a:r>
          </a:p>
          <a:p>
            <a:pPr marL="182563" lvl="1" indent="-182563">
              <a:spcBef>
                <a:spcPts val="8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600" dirty="0">
                <a:solidFill>
                  <a:schemeClr val="bg1"/>
                </a:solidFill>
                <a:latin typeface="Arial Nova Cond" panose="020B0506020202020204" pitchFamily="34" charset="0"/>
              </a:rPr>
              <a:t>Reduce Total Cost of Ownership (TCO)</a:t>
            </a:r>
          </a:p>
          <a:p>
            <a:pPr marL="182563" lvl="1" indent="-182563">
              <a:spcBef>
                <a:spcPts val="800"/>
              </a:spcBef>
              <a:buClr>
                <a:srgbClr val="E64B00"/>
              </a:buClr>
              <a:buFont typeface="Wingdings" pitchFamily="2" charset="2"/>
              <a:buChar char="§"/>
            </a:pPr>
            <a:r>
              <a:rPr lang="en-US" sz="1600" dirty="0">
                <a:solidFill>
                  <a:schemeClr val="bg1"/>
                </a:solidFill>
                <a:latin typeface="Arial Nova Cond" panose="020B0506020202020204" pitchFamily="34" charset="0"/>
              </a:rPr>
              <a:t>Future-proof your productivity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0BBD403-F8EA-4B13-BA4E-9E4F3E314EE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64000" y="1866366"/>
            <a:ext cx="4075666" cy="504825"/>
          </a:xfrm>
          <a:prstGeom prst="rect">
            <a:avLst/>
          </a:prstGeom>
          <a:solidFill>
            <a:srgbClr val="E64B00"/>
          </a:solidFill>
          <a:ln w="9525">
            <a:solidFill>
              <a:srgbClr val="E64B00"/>
            </a:solidFill>
            <a:miter lim="800000"/>
            <a:headEnd/>
            <a:tailEnd/>
          </a:ln>
        </p:spPr>
        <p:txBody>
          <a:bodyPr anchor="ctr"/>
          <a:lstStyle/>
          <a:p>
            <a:pPr lvl="0">
              <a:buClr>
                <a:srgbClr val="FF6600"/>
              </a:buClr>
              <a:defRPr/>
            </a:pPr>
            <a:r>
              <a:rPr lang="en-GB" sz="2000" b="1" kern="0" dirty="0">
                <a:solidFill>
                  <a:srgbClr val="FFFFFF"/>
                </a:solidFill>
                <a:latin typeface="Arial Nova Cond" panose="020B0506020202020204" pitchFamily="34" charset="0"/>
                <a:cs typeface="ＭＳ Ｐゴシック"/>
              </a:rPr>
              <a:t>OPTIONS &amp; UPGRADES</a:t>
            </a:r>
            <a:endParaRPr lang="en-GB" sz="2000" b="1" kern="0" dirty="0">
              <a:solidFill>
                <a:sysClr val="windowText" lastClr="000000"/>
              </a:solidFill>
              <a:latin typeface="Arial Nova Cond" panose="020B0506020202020204" pitchFamily="34" charset="0"/>
              <a:ea typeface="ＭＳ Ｐゴシック"/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219172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77C083B-820F-4427-A9C0-FE82216251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ea typeface="+mj-lt"/>
                <a:cs typeface="+mj-lt"/>
              </a:rPr>
              <a:t>Neck finish under control</a:t>
            </a:r>
            <a:endParaRPr lang="it-IT" i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DCAF04-438F-4A7E-8E52-F04DE23426E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Neck ventilation at the end of the oven</a:t>
            </a:r>
            <a:endParaRPr lang="it-IT" dirty="0"/>
          </a:p>
        </p:txBody>
      </p:sp>
      <p:sp>
        <p:nvSpPr>
          <p:cNvPr id="7" name="Rechteck 3">
            <a:extLst>
              <a:ext uri="{FF2B5EF4-FFF2-40B4-BE49-F238E27FC236}">
                <a16:creationId xmlns:a16="http://schemas.microsoft.com/office/drawing/2014/main" id="{921A3E86-62EE-4EC9-939D-B3FFF8DFEF85}"/>
              </a:ext>
            </a:extLst>
          </p:cNvPr>
          <p:cNvSpPr/>
          <p:nvPr/>
        </p:nvSpPr>
        <p:spPr bwMode="auto">
          <a:xfrm>
            <a:off x="863601" y="1435880"/>
            <a:ext cx="5072271" cy="43644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>
              <a:spcBef>
                <a:spcPts val="300"/>
              </a:spcBef>
              <a:buClr>
                <a:srgbClr val="FF6600"/>
              </a:buClr>
              <a:defRPr/>
            </a:pPr>
            <a:r>
              <a:rPr lang="en-GB" sz="1400" b="1">
                <a:solidFill>
                  <a:srgbClr val="FFFFFF"/>
                </a:solidFill>
                <a:latin typeface="Arial Nova Cond" panose="020B0506020202020204" pitchFamily="34" charset="0"/>
                <a:ea typeface="MS PGothic" pitchFamily="34" charset="-128"/>
              </a:rPr>
              <a:t>VALUE AND BENEFITS</a:t>
            </a:r>
          </a:p>
        </p:txBody>
      </p:sp>
      <p:sp>
        <p:nvSpPr>
          <p:cNvPr id="8" name="Rechteck 4">
            <a:extLst>
              <a:ext uri="{FF2B5EF4-FFF2-40B4-BE49-F238E27FC236}">
                <a16:creationId xmlns:a16="http://schemas.microsoft.com/office/drawing/2014/main" id="{CC9C6C4E-818A-4831-A5E4-AE771FCDCCAF}"/>
              </a:ext>
            </a:extLst>
          </p:cNvPr>
          <p:cNvSpPr>
            <a:spLocks/>
          </p:cNvSpPr>
          <p:nvPr/>
        </p:nvSpPr>
        <p:spPr bwMode="auto">
          <a:xfrm>
            <a:off x="863601" y="1872323"/>
            <a:ext cx="5072272" cy="396339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200" dirty="0">
                <a:solidFill>
                  <a:srgbClr val="000000"/>
                </a:solidFill>
                <a:latin typeface="Arial Nova Cond" panose="020B0506020202020204" pitchFamily="34" charset="0"/>
              </a:rPr>
              <a:t>Additional cooling of the preform neck finish with blown air.</a:t>
            </a: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200" dirty="0">
                <a:solidFill>
                  <a:srgbClr val="000000"/>
                </a:solidFill>
                <a:latin typeface="Arial Nova Cond" panose="020B0506020202020204" pitchFamily="34" charset="0"/>
              </a:rPr>
              <a:t>Reduce the risk of having neck finishes overheating.</a:t>
            </a:r>
          </a:p>
          <a:p>
            <a:pPr marL="342900" indent="-3429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en-US" altLang="fr-FR" sz="1200" dirty="0">
                <a:solidFill>
                  <a:srgbClr val="000000"/>
                </a:solidFill>
                <a:latin typeface="Arial Nova Cond" panose="020B0506020202020204" pitchFamily="34" charset="0"/>
              </a:rPr>
              <a:t>In some cases, it can ease the production of very technical bottles.</a:t>
            </a:r>
          </a:p>
        </p:txBody>
      </p:sp>
      <p:sp>
        <p:nvSpPr>
          <p:cNvPr id="9" name="Rechteck 11">
            <a:extLst>
              <a:ext uri="{FF2B5EF4-FFF2-40B4-BE49-F238E27FC236}">
                <a16:creationId xmlns:a16="http://schemas.microsoft.com/office/drawing/2014/main" id="{1F0151DF-58E3-4EFF-8005-8601E492CFBC}"/>
              </a:ext>
            </a:extLst>
          </p:cNvPr>
          <p:cNvSpPr/>
          <p:nvPr/>
        </p:nvSpPr>
        <p:spPr bwMode="auto">
          <a:xfrm>
            <a:off x="6256129" y="1421146"/>
            <a:ext cx="5264892" cy="45117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indent="-190500" fontAlgn="base">
              <a:spcBef>
                <a:spcPts val="300"/>
              </a:spcBef>
              <a:buClr>
                <a:srgbClr val="E64B00"/>
              </a:buClr>
              <a:defRPr/>
            </a:pPr>
            <a:r>
              <a:rPr lang="de-CH" altLang="de-DE" sz="1400" b="1" noProof="1">
                <a:solidFill>
                  <a:srgbClr val="FFFFFF"/>
                </a:solidFill>
                <a:latin typeface="Arial Nova Cond" panose="020B0506020202020204" pitchFamily="34" charset="0"/>
                <a:cs typeface="Arial" charset="0"/>
              </a:rPr>
              <a:t>DESCRIPTION</a:t>
            </a:r>
            <a:endParaRPr lang="en-GB" altLang="de-DE" sz="1400">
              <a:solidFill>
                <a:srgbClr val="FFFFFF"/>
              </a:solidFill>
              <a:latin typeface="Arial Nova Cond" panose="020B0506020202020204" pitchFamily="34" charset="0"/>
              <a:cs typeface="Arial" charset="0"/>
            </a:endParaRPr>
          </a:p>
        </p:txBody>
      </p:sp>
      <p:sp>
        <p:nvSpPr>
          <p:cNvPr id="10" name="Rechteck 12">
            <a:extLst>
              <a:ext uri="{FF2B5EF4-FFF2-40B4-BE49-F238E27FC236}">
                <a16:creationId xmlns:a16="http://schemas.microsoft.com/office/drawing/2014/main" id="{D5464456-BC1C-4135-B8CA-C8B46BE1FB45}"/>
              </a:ext>
            </a:extLst>
          </p:cNvPr>
          <p:cNvSpPr>
            <a:spLocks/>
          </p:cNvSpPr>
          <p:nvPr/>
        </p:nvSpPr>
        <p:spPr bwMode="auto">
          <a:xfrm>
            <a:off x="6256129" y="1872323"/>
            <a:ext cx="5264892" cy="3963397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t"/>
          <a:lstStyle/>
          <a:p>
            <a:pPr marL="342900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200" dirty="0">
                <a:solidFill>
                  <a:srgbClr val="000000"/>
                </a:solidFill>
                <a:latin typeface="Arial Nova Cond" panose="020B0506020202020204" pitchFamily="34" charset="0"/>
                <a:ea typeface="宋体" charset="-122"/>
              </a:rPr>
              <a:t>A centrifugal fan to be installed at the end of the oven, in the 180° bend.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200" dirty="0">
                <a:solidFill>
                  <a:srgbClr val="000000"/>
                </a:solidFill>
                <a:latin typeface="Arial Nova Cond" panose="020B0506020202020204" pitchFamily="34" charset="0"/>
                <a:ea typeface="宋体" charset="-122"/>
              </a:rPr>
              <a:t>Plugged on the spindle chain tensioner shaft.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200" dirty="0">
                <a:solidFill>
                  <a:srgbClr val="000000"/>
                </a:solidFill>
                <a:latin typeface="Arial Nova Cond" panose="020B0506020202020204" pitchFamily="34" charset="0"/>
                <a:ea typeface="宋体" charset="-122"/>
              </a:rPr>
              <a:t>Not suitable for oven equipped with neck indexing system.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GB" altLang="zh-CN" sz="1200" dirty="0">
              <a:solidFill>
                <a:srgbClr val="000000"/>
              </a:solidFill>
              <a:latin typeface="Arial Nova Cond" panose="020B0506020202020204" pitchFamily="34" charset="0"/>
              <a:ea typeface="宋体" charset="-122"/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defRPr/>
            </a:pPr>
            <a:endParaRPr lang="en-GB" altLang="zh-CN" sz="1200" dirty="0">
              <a:solidFill>
                <a:srgbClr val="000000"/>
              </a:solidFill>
              <a:latin typeface="Arial Nova Cond" panose="020B0506020202020204" pitchFamily="34" charset="0"/>
              <a:ea typeface="宋体" charset="-122"/>
            </a:endParaRPr>
          </a:p>
          <a:p>
            <a:pPr marL="800100" lvl="1" indent="-342900"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endParaRPr lang="en-GB" altLang="zh-CN" sz="1200" dirty="0">
              <a:solidFill>
                <a:srgbClr val="000000"/>
              </a:solidFill>
              <a:latin typeface="Arial Nova Cond" panose="020B0506020202020204" pitchFamily="34" charset="0"/>
              <a:ea typeface="宋体" charset="-122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BA6F457-3745-499C-AADE-B66B3DEC6486}"/>
              </a:ext>
            </a:extLst>
          </p:cNvPr>
          <p:cNvSpPr txBox="1">
            <a:spLocks/>
          </p:cNvSpPr>
          <p:nvPr/>
        </p:nvSpPr>
        <p:spPr bwMode="auto">
          <a:xfrm>
            <a:off x="887432" y="5913308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r>
              <a:rPr lang="en-GB" altLang="fr-FR" sz="800" dirty="0">
                <a:solidFill>
                  <a:srgbClr val="000000"/>
                </a:solidFill>
                <a:latin typeface="Arial Nova Cond" panose="020B0506020202020204" pitchFamily="34" charset="0"/>
                <a:cs typeface="Arial"/>
              </a:rPr>
              <a:t>Value: Product Quality</a:t>
            </a:r>
          </a:p>
          <a:p>
            <a:pPr fontAlgn="base">
              <a:spcAft>
                <a:spcPct val="0"/>
              </a:spcAft>
              <a:defRPr/>
            </a:pPr>
            <a:r>
              <a:rPr lang="en-GB" altLang="fr-FR" sz="800" dirty="0">
                <a:solidFill>
                  <a:srgbClr val="000000"/>
                </a:solidFill>
                <a:latin typeface="Arial Nova Cond" panose="020B0506020202020204" pitchFamily="34" charset="0"/>
                <a:cs typeface="Arial"/>
              </a:rPr>
              <a:t>Equipment: Blower Series 2</a:t>
            </a:r>
          </a:p>
          <a:p>
            <a:pPr fontAlgn="base">
              <a:spcAft>
                <a:spcPct val="0"/>
              </a:spcAft>
              <a:defRPr/>
            </a:pPr>
            <a:r>
              <a:rPr lang="en-GB" altLang="fr-FR" sz="800" dirty="0">
                <a:solidFill>
                  <a:srgbClr val="000000"/>
                </a:solidFill>
                <a:latin typeface="Arial Nova Cond" panose="020B0506020202020204" pitchFamily="34" charset="0"/>
                <a:cs typeface="Arial"/>
              </a:rPr>
              <a:t>Catalogue code: 993</a:t>
            </a:r>
          </a:p>
        </p:txBody>
      </p:sp>
      <p:pic>
        <p:nvPicPr>
          <p:cNvPr id="2" name="Image 21">
            <a:extLst>
              <a:ext uri="{FF2B5EF4-FFF2-40B4-BE49-F238E27FC236}">
                <a16:creationId xmlns:a16="http://schemas.microsoft.com/office/drawing/2014/main" id="{A6B16AA7-8B6D-3BED-2EF0-1739DC9E38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9238" y="3648075"/>
            <a:ext cx="3566299" cy="167202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5292145-2C52-E06C-58B3-04A4B8D35269}"/>
              </a:ext>
            </a:extLst>
          </p:cNvPr>
          <p:cNvSpPr/>
          <p:nvPr/>
        </p:nvSpPr>
        <p:spPr>
          <a:xfrm>
            <a:off x="9732363" y="4084220"/>
            <a:ext cx="425358" cy="43815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0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Image 3">
            <a:extLst>
              <a:ext uri="{FF2B5EF4-FFF2-40B4-BE49-F238E27FC236}">
                <a16:creationId xmlns:a16="http://schemas.microsoft.com/office/drawing/2014/main" id="{AFD0C114-7312-B2AB-9F05-80381B6CCD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717" b="89879" l="5438" r="91994">
                        <a14:foregroundMark x1="92145" y1="31984" x2="92145" y2="31984"/>
                        <a14:foregroundMark x1="48640" y1="45344" x2="48640" y2="45344"/>
                        <a14:foregroundMark x1="5438" y1="61943" x2="5438" y2="61943"/>
                        <a14:foregroundMark x1="66616" y1="33198" x2="66616" y2="33198"/>
                        <a14:foregroundMark x1="80514" y1="39271" x2="80514" y2="3927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007162" y="3171708"/>
            <a:ext cx="1457141" cy="543675"/>
          </a:xfrm>
          <a:prstGeom prst="rect">
            <a:avLst/>
          </a:prstGeom>
        </p:spPr>
      </p:pic>
      <p:cxnSp>
        <p:nvCxnSpPr>
          <p:cNvPr id="15" name="Connecteur droit avec flèche 5">
            <a:extLst>
              <a:ext uri="{FF2B5EF4-FFF2-40B4-BE49-F238E27FC236}">
                <a16:creationId xmlns:a16="http://schemas.microsoft.com/office/drawing/2014/main" id="{2651C654-21DB-276E-81FC-6D0008069CF6}"/>
              </a:ext>
            </a:extLst>
          </p:cNvPr>
          <p:cNvCxnSpPr>
            <a:cxnSpLocks/>
          </p:cNvCxnSpPr>
          <p:nvPr/>
        </p:nvCxnSpPr>
        <p:spPr>
          <a:xfrm flipH="1">
            <a:off x="10007162" y="3694312"/>
            <a:ext cx="473887" cy="354044"/>
          </a:xfrm>
          <a:prstGeom prst="straightConnector1">
            <a:avLst/>
          </a:prstGeom>
          <a:noFill/>
          <a:ln w="19050" cap="flat" cmpd="sng" algn="ctr">
            <a:solidFill>
              <a:srgbClr val="FF0000">
                <a:shade val="95000"/>
                <a:satMod val="105000"/>
              </a:srgbClr>
            </a:solidFill>
            <a:prstDash val="solid"/>
            <a:tailEnd type="triangle"/>
          </a:ln>
          <a:effectLst/>
        </p:spPr>
      </p:cxnSp>
      <p:pic>
        <p:nvPicPr>
          <p:cNvPr id="16" name="Image 12">
            <a:extLst>
              <a:ext uri="{FF2B5EF4-FFF2-40B4-BE49-F238E27FC236}">
                <a16:creationId xmlns:a16="http://schemas.microsoft.com/office/drawing/2014/main" id="{C1F37215-BDCE-B9CD-5BDB-1A4E3BE685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35697" y="2621756"/>
            <a:ext cx="1036819" cy="2853200"/>
          </a:xfrm>
          <a:prstGeom prst="rect">
            <a:avLst/>
          </a:prstGeom>
        </p:spPr>
      </p:pic>
      <p:pic>
        <p:nvPicPr>
          <p:cNvPr id="17" name="Image 13">
            <a:extLst>
              <a:ext uri="{FF2B5EF4-FFF2-40B4-BE49-F238E27FC236}">
                <a16:creationId xmlns:a16="http://schemas.microsoft.com/office/drawing/2014/main" id="{1C1C8CED-BDA5-DA2C-B05C-E5DBCA2E30C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4099497" y="4624426"/>
            <a:ext cx="549457" cy="786452"/>
          </a:xfrm>
          <a:prstGeom prst="rect">
            <a:avLst/>
          </a:prstGeom>
        </p:spPr>
      </p:pic>
      <p:pic>
        <p:nvPicPr>
          <p:cNvPr id="18" name="Image 16">
            <a:extLst>
              <a:ext uri="{FF2B5EF4-FFF2-40B4-BE49-F238E27FC236}">
                <a16:creationId xmlns:a16="http://schemas.microsoft.com/office/drawing/2014/main" id="{C8B9DBDF-9E25-18FD-A899-6BCFAA08B2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56267" y="3419157"/>
            <a:ext cx="2293111" cy="2126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2342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3D847446-95AD-96A3-7531-2B5FEE7CB5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1075" y="1410633"/>
            <a:ext cx="6515100" cy="4571294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A071B2F2-B10B-4685-94C6-A966C1804B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879" y="396120"/>
            <a:ext cx="10657417" cy="461665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Neck ventilation at the end of the oven :</a:t>
            </a:r>
            <a:endParaRPr lang="fr-FR" dirty="0"/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4D8EC940-E66B-408E-B662-364CF1859DFE}"/>
              </a:ext>
            </a:extLst>
          </p:cNvPr>
          <p:cNvSpPr txBox="1">
            <a:spLocks/>
          </p:cNvSpPr>
          <p:nvPr/>
        </p:nvSpPr>
        <p:spPr>
          <a:xfrm>
            <a:off x="8553450" y="4373149"/>
            <a:ext cx="3176969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Font typeface="+mj-lt"/>
              <a:buAutoNum type="arabicPeriod"/>
            </a:pPr>
            <a:r>
              <a:rPr lang="en-US" sz="1200" dirty="0">
                <a:solidFill>
                  <a:schemeClr val="tx1"/>
                </a:solidFill>
                <a:latin typeface="Arial Nova Cond" panose="020B0506020202020204" pitchFamily="34" charset="0"/>
              </a:rPr>
              <a:t>Centrifugal fa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200" dirty="0">
                <a:solidFill>
                  <a:schemeClr val="tx1"/>
                </a:solidFill>
                <a:latin typeface="Arial Nova Cond" panose="020B0506020202020204" pitchFamily="34" charset="0"/>
              </a:rPr>
              <a:t>Spindle chain tensioner shaft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200" dirty="0">
                <a:solidFill>
                  <a:schemeClr val="tx1"/>
                </a:solidFill>
                <a:latin typeface="Arial Nova Cond" panose="020B0506020202020204" pitchFamily="34" charset="0"/>
              </a:rPr>
              <a:t>Spindle chain tensioner wheel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200" dirty="0">
                <a:solidFill>
                  <a:schemeClr val="tx1"/>
                </a:solidFill>
                <a:latin typeface="Arial Nova Cond" panose="020B0506020202020204" pitchFamily="34" charset="0"/>
              </a:rPr>
              <a:t>Ventilation lower box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200" dirty="0">
                <a:solidFill>
                  <a:schemeClr val="tx1"/>
                </a:solidFill>
                <a:latin typeface="Arial Nova Cond" panose="020B0506020202020204" pitchFamily="34" charset="0"/>
              </a:rPr>
              <a:t>Ventilation upper box</a:t>
            </a:r>
          </a:p>
          <a:p>
            <a:pPr marL="342900" indent="-342900">
              <a:buFont typeface="+mj-lt"/>
              <a:buAutoNum type="arabicPeriod"/>
            </a:pPr>
            <a:endParaRPr lang="en-US" sz="1200" dirty="0">
              <a:solidFill>
                <a:schemeClr val="tx1"/>
              </a:solidFill>
              <a:latin typeface="Arial Nova Cond" panose="020B0506020202020204" pitchFamily="34" charset="0"/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07CD38E6-482C-405C-98F1-38E4738F6A20}"/>
              </a:ext>
            </a:extLst>
          </p:cNvPr>
          <p:cNvSpPr txBox="1"/>
          <p:nvPr/>
        </p:nvSpPr>
        <p:spPr>
          <a:xfrm>
            <a:off x="4238625" y="2482051"/>
            <a:ext cx="269258" cy="307777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solidFill>
              <a:srgbClr val="FFFFFF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2000" b="1" dirty="0">
                <a:solidFill>
                  <a:srgbClr val="E64B00"/>
                </a:solidFill>
                <a:latin typeface="Arial Nova Cond" panose="020B0506020202020204" pitchFamily="34" charset="0"/>
              </a:rPr>
              <a:t>1</a:t>
            </a:r>
          </a:p>
        </p:txBody>
      </p:sp>
      <p:sp>
        <p:nvSpPr>
          <p:cNvPr id="29" name="ZoneTexte 28">
            <a:extLst>
              <a:ext uri="{FF2B5EF4-FFF2-40B4-BE49-F238E27FC236}">
                <a16:creationId xmlns:a16="http://schemas.microsoft.com/office/drawing/2014/main" id="{3A43EEE1-7F8E-8C5A-A2E1-AFD822C0600F}"/>
              </a:ext>
            </a:extLst>
          </p:cNvPr>
          <p:cNvSpPr txBox="1"/>
          <p:nvPr/>
        </p:nvSpPr>
        <p:spPr>
          <a:xfrm>
            <a:off x="6106587" y="1620100"/>
            <a:ext cx="308641" cy="307777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solidFill>
              <a:srgbClr val="FFFFFF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2000" b="1" dirty="0">
                <a:solidFill>
                  <a:srgbClr val="E64B00"/>
                </a:solidFill>
                <a:latin typeface="Arial Nova Cond" panose="020B0506020202020204" pitchFamily="34" charset="0"/>
              </a:rPr>
              <a:t>5</a:t>
            </a: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D3EB756E-7CF7-5462-B111-F979052AF003}"/>
              </a:ext>
            </a:extLst>
          </p:cNvPr>
          <p:cNvSpPr txBox="1"/>
          <p:nvPr/>
        </p:nvSpPr>
        <p:spPr>
          <a:xfrm>
            <a:off x="5645765" y="3997983"/>
            <a:ext cx="308641" cy="307777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solidFill>
              <a:srgbClr val="FFFFFF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2000" b="1" dirty="0">
                <a:solidFill>
                  <a:srgbClr val="E64B00"/>
                </a:solidFill>
                <a:latin typeface="Arial Nova Cond" panose="020B0506020202020204" pitchFamily="34" charset="0"/>
              </a:rPr>
              <a:t>4</a:t>
            </a:r>
          </a:p>
        </p:txBody>
      </p:sp>
      <p:sp>
        <p:nvSpPr>
          <p:cNvPr id="35" name="ZoneTexte 34">
            <a:extLst>
              <a:ext uri="{FF2B5EF4-FFF2-40B4-BE49-F238E27FC236}">
                <a16:creationId xmlns:a16="http://schemas.microsoft.com/office/drawing/2014/main" id="{A130D2EC-6937-5D51-B3CD-F773F71D1B35}"/>
              </a:ext>
            </a:extLst>
          </p:cNvPr>
          <p:cNvSpPr txBox="1"/>
          <p:nvPr/>
        </p:nvSpPr>
        <p:spPr>
          <a:xfrm>
            <a:off x="5530829" y="4812695"/>
            <a:ext cx="269257" cy="307777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solidFill>
              <a:srgbClr val="FFFFFF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2000" b="1" dirty="0">
                <a:solidFill>
                  <a:srgbClr val="E64B00"/>
                </a:solidFill>
                <a:latin typeface="Arial Nova Cond" panose="020B0506020202020204" pitchFamily="34" charset="0"/>
              </a:rPr>
              <a:t>3</a:t>
            </a:r>
          </a:p>
        </p:txBody>
      </p:sp>
      <p:sp>
        <p:nvSpPr>
          <p:cNvPr id="36" name="ZoneTexte 35">
            <a:extLst>
              <a:ext uri="{FF2B5EF4-FFF2-40B4-BE49-F238E27FC236}">
                <a16:creationId xmlns:a16="http://schemas.microsoft.com/office/drawing/2014/main" id="{DC45C7F6-2204-D86B-D529-7981B84C6A5C}"/>
              </a:ext>
            </a:extLst>
          </p:cNvPr>
          <p:cNvSpPr txBox="1"/>
          <p:nvPr/>
        </p:nvSpPr>
        <p:spPr>
          <a:xfrm>
            <a:off x="4064613" y="5120472"/>
            <a:ext cx="308641" cy="307777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solidFill>
              <a:srgbClr val="FFFFFF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2000" b="1" dirty="0">
                <a:solidFill>
                  <a:srgbClr val="E64B00"/>
                </a:solidFill>
                <a:latin typeface="Arial Nova Cond" panose="020B0506020202020204" pitchFamily="34" charset="0"/>
              </a:rPr>
              <a:t>2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E678B596-E2BC-73A0-7E7B-3CC2A6ACB98C}"/>
              </a:ext>
            </a:extLst>
          </p:cNvPr>
          <p:cNvSpPr txBox="1"/>
          <p:nvPr/>
        </p:nvSpPr>
        <p:spPr>
          <a:xfrm>
            <a:off x="5314950" y="5447367"/>
            <a:ext cx="15621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100" kern="0" dirty="0" err="1">
                <a:latin typeface="Arial Nova Cond" panose="020B0506020202020204" pitchFamily="34" charset="0"/>
              </a:rPr>
              <a:t>Dwg</a:t>
            </a:r>
            <a:r>
              <a:rPr lang="fr-FR" sz="1100" kern="0" dirty="0">
                <a:latin typeface="Arial Nova Cond" panose="020B0506020202020204" pitchFamily="34" charset="0"/>
              </a:rPr>
              <a:t>: 01069943801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635CD9FD-ACB6-4ABF-415C-C1543E4E93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98294" y="2082830"/>
            <a:ext cx="509626" cy="213406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8D2FD30D-E83B-AD45-7085-5DDE0C0837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41841" y="2082830"/>
            <a:ext cx="509626" cy="2134060"/>
          </a:xfrm>
          <a:prstGeom prst="rect">
            <a:avLst/>
          </a:prstGeom>
        </p:spPr>
      </p:pic>
      <p:sp>
        <p:nvSpPr>
          <p:cNvPr id="14" name="Flèche : courbe vers le haut 13">
            <a:extLst>
              <a:ext uri="{FF2B5EF4-FFF2-40B4-BE49-F238E27FC236}">
                <a16:creationId xmlns:a16="http://schemas.microsoft.com/office/drawing/2014/main" id="{E27FBF2F-47FA-2D8A-180D-CEA944113CED}"/>
              </a:ext>
            </a:extLst>
          </p:cNvPr>
          <p:cNvSpPr/>
          <p:nvPr/>
        </p:nvSpPr>
        <p:spPr>
          <a:xfrm>
            <a:off x="3850465" y="3275111"/>
            <a:ext cx="809625" cy="307777"/>
          </a:xfrm>
          <a:prstGeom prst="curvedUp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2000" dirty="0" err="1">
              <a:solidFill>
                <a:schemeClr val="tx1"/>
              </a:solidFill>
              <a:latin typeface="Arial Nova Cond" panose="020B0506020202020204" pitchFamily="34" charset="0"/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8182B049-2881-D379-DFB0-9F51B3A112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0800000">
            <a:off x="3295753" y="1141425"/>
            <a:ext cx="549457" cy="786452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78D28C87-0078-552C-D599-CAF29BD380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0800000">
            <a:off x="3944204" y="1141425"/>
            <a:ext cx="549457" cy="786452"/>
          </a:xfrm>
          <a:prstGeom prst="rect">
            <a:avLst/>
          </a:prstGeom>
        </p:spPr>
      </p:pic>
      <p:pic>
        <p:nvPicPr>
          <p:cNvPr id="18" name="Image 17">
            <a:extLst>
              <a:ext uri="{FF2B5EF4-FFF2-40B4-BE49-F238E27FC236}">
                <a16:creationId xmlns:a16="http://schemas.microsoft.com/office/drawing/2014/main" id="{BAD772D3-F17A-DEC7-0B4A-C918921629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0800000">
            <a:off x="4660090" y="1141425"/>
            <a:ext cx="549457" cy="786452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:a16="http://schemas.microsoft.com/office/drawing/2014/main" id="{8DD32A7F-BF71-3E95-33C4-695BB001A3A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6200000">
            <a:off x="1754396" y="3637805"/>
            <a:ext cx="549457" cy="786452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23A05E0D-6C06-D902-C687-7947F53C500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6145907" y="3645528"/>
            <a:ext cx="549457" cy="786452"/>
          </a:xfrm>
          <a:prstGeom prst="rect">
            <a:avLst/>
          </a:prstGeom>
        </p:spPr>
      </p:pic>
      <p:pic>
        <p:nvPicPr>
          <p:cNvPr id="2" name="Image 1">
            <a:extLst>
              <a:ext uri="{FF2B5EF4-FFF2-40B4-BE49-F238E27FC236}">
                <a16:creationId xmlns:a16="http://schemas.microsoft.com/office/drawing/2014/main" id="{04D48DF6-2901-56F7-AC36-73B6A9B40AE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25361" y="1596887"/>
            <a:ext cx="3605058" cy="207810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908076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130" name="Objekt 5" hidden="1">
            <a:extLst>
              <a:ext uri="{FF2B5EF4-FFF2-40B4-BE49-F238E27FC236}">
                <a16:creationId xmlns:a16="http://schemas.microsoft.com/office/drawing/2014/main" id="{ED7AF640-E3F7-4BB4-BFC8-9F8D632EC0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48130" name="Objekt 5" hidden="1">
                        <a:extLst>
                          <a:ext uri="{FF2B5EF4-FFF2-40B4-BE49-F238E27FC236}">
                            <a16:creationId xmlns:a16="http://schemas.microsoft.com/office/drawing/2014/main" id="{ED7AF640-E3F7-4BB4-BFC8-9F8D632EC08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Group 105">
            <a:extLst>
              <a:ext uri="{FF2B5EF4-FFF2-40B4-BE49-F238E27FC236}">
                <a16:creationId xmlns:a16="http://schemas.microsoft.com/office/drawing/2014/main" id="{F03B2C18-7777-4DB3-A045-04C116B01F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5250093"/>
              </p:ext>
            </p:extLst>
          </p:nvPr>
        </p:nvGraphicFramePr>
        <p:xfrm>
          <a:off x="863604" y="334805"/>
          <a:ext cx="10602355" cy="5270774"/>
        </p:xfrm>
        <a:graphic>
          <a:graphicData uri="http://schemas.openxmlformats.org/drawingml/2006/table">
            <a:tbl>
              <a:tblPr/>
              <a:tblGrid>
                <a:gridCol w="43246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776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31106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 Nova Cond" panose="020B0506020202020204" pitchFamily="34" charset="0"/>
                          <a:cs typeface="Arial" charset="0"/>
                        </a:rPr>
                        <a:t>TECHNICAL OVERVIEW</a:t>
                      </a:r>
                    </a:p>
                  </a:txBody>
                  <a:tcPr marL="91449" marR="91449" marT="45711" marB="45711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endParaRPr kumimoji="0" lang="en-GB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58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ova Cond" panose="020B0506020202020204" pitchFamily="34" charset="0"/>
                          <a:cs typeface="Arial" charset="0"/>
                        </a:rPr>
                        <a:t>Ease of implementation</a:t>
                      </a:r>
                    </a:p>
                  </a:txBody>
                  <a:tcPr marL="91449" marR="91449" marT="45711" marB="45711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ova Cond" panose="020B0506020202020204" pitchFamily="34" charset="0"/>
                          <a:cs typeface="Arial" charset="0"/>
                        </a:rPr>
                        <a:t>2/3 </a:t>
                      </a:r>
                    </a:p>
                  </a:txBody>
                  <a:tcPr marL="91449" marR="91449" marT="45711" marB="4571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267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ova Cond" panose="020B0506020202020204" pitchFamily="34" charset="0"/>
                          <a:cs typeface="Arial" charset="0"/>
                        </a:rPr>
                        <a:t>Machine application exclusion?</a:t>
                      </a:r>
                    </a:p>
                  </a:txBody>
                  <a:tcPr marL="91449" marR="91449" marT="45711" marB="45711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pt-BR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ova Cond" panose="020B0506020202020204" pitchFamily="34" charset="0"/>
                          <a:cs typeface="Arial" charset="0"/>
                        </a:rPr>
                        <a:t>SBO Series 2</a:t>
                      </a:r>
                    </a:p>
                  </a:txBody>
                  <a:tcPr marL="91449" marR="91449" marT="45711" marB="4571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110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ova Cond" panose="020B0506020202020204" pitchFamily="34" charset="0"/>
                          <a:cs typeface="Arial" charset="0"/>
                        </a:rPr>
                        <a:t>Mandatory option needed? </a:t>
                      </a:r>
                    </a:p>
                  </a:txBody>
                  <a:tcPr marL="91449" marR="91449" marT="45711" marB="45711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ova Cond" panose="020B0506020202020204" pitchFamily="34" charset="0"/>
                          <a:cs typeface="Arial" charset="0"/>
                        </a:rPr>
                        <a:t>No</a:t>
                      </a:r>
                      <a:endParaRPr kumimoji="0" lang="en-GB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ova Cond" panose="020B0506020202020204" pitchFamily="34" charset="0"/>
                        <a:cs typeface="Arial" charset="0"/>
                      </a:endParaRPr>
                    </a:p>
                  </a:txBody>
                  <a:tcPr marL="91449" marR="91449" marT="45711" marB="4571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52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ova Cond" panose="020B0506020202020204" pitchFamily="34" charset="0"/>
                          <a:cs typeface="Arial" charset="0"/>
                        </a:rPr>
                        <a:t>Targeted sub-assembly 	</a:t>
                      </a:r>
                    </a:p>
                  </a:txBody>
                  <a:tcPr marL="91449" marR="91449" marT="45711" marB="45711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ova Cond" panose="020B0506020202020204" pitchFamily="34" charset="0"/>
                          <a:cs typeface="Arial" charset="0"/>
                        </a:rPr>
                        <a:t>Oven</a:t>
                      </a:r>
                    </a:p>
                  </a:txBody>
                  <a:tcPr marL="91449" marR="91449" marT="45711" marB="4571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1565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ova Cond" panose="020B0506020202020204" pitchFamily="34" charset="0"/>
                          <a:cs typeface="Arial" charset="0"/>
                        </a:rPr>
                        <a:t>Diagnostic visit and/or equipment refurbishment needed before upgrade? </a:t>
                      </a:r>
                    </a:p>
                  </a:txBody>
                  <a:tcPr marL="91449" marR="91449" marT="45711" marB="45711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ova Cond" panose="020B0506020202020204" pitchFamily="34" charset="0"/>
                          <a:cs typeface="Arial" charset="0"/>
                        </a:rPr>
                        <a:t>No</a:t>
                      </a:r>
                    </a:p>
                  </a:txBody>
                  <a:tcPr marL="91449" marR="91449" marT="45711" marB="4571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033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ova Cond" panose="020B0506020202020204" pitchFamily="34" charset="0"/>
                          <a:cs typeface="Arial" charset="0"/>
                        </a:rPr>
                        <a:t>Time to install upgrade</a:t>
                      </a:r>
                    </a:p>
                  </a:txBody>
                  <a:tcPr marL="91449" marR="91449" marT="45711" marB="45711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ova Cond" panose="020B0506020202020204" pitchFamily="34" charset="0"/>
                          <a:cs typeface="Arial" charset="0"/>
                        </a:rPr>
                        <a:t>Approx 2 days</a:t>
                      </a:r>
                    </a:p>
                  </a:txBody>
                  <a:tcPr marL="91449" marR="91449" marT="45711" marB="4571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72819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ova Cond" panose="020B0506020202020204" pitchFamily="34" charset="0"/>
                          <a:cs typeface="Arial" charset="0"/>
                        </a:rPr>
                        <a:t>Sidel expertise needed?</a:t>
                      </a:r>
                    </a:p>
                  </a:txBody>
                  <a:tcPr marL="91449" marR="91449" marT="45711" marB="45711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ova Cond" panose="020B0506020202020204" pitchFamily="34" charset="0"/>
                          <a:cs typeface="Arial" charset="0"/>
                        </a:rPr>
                        <a:t>Yes.</a:t>
                      </a:r>
                    </a:p>
                  </a:txBody>
                  <a:tcPr marL="91449" marR="91449" marT="45711" marB="4571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35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ova Cond" panose="020B0506020202020204" pitchFamily="34" charset="0"/>
                          <a:cs typeface="Arial" charset="0"/>
                        </a:rPr>
                        <a:t>Average delivery time</a:t>
                      </a:r>
                    </a:p>
                  </a:txBody>
                  <a:tcPr marL="91449" marR="91449" marT="45711" marB="45711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45000"/>
                        </a:spcBef>
                        <a:spcAft>
                          <a:spcPct val="0"/>
                        </a:spcAft>
                        <a:buClrTx/>
                        <a:buSzPct val="55000"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ova Cond" panose="020B0506020202020204" pitchFamily="34" charset="0"/>
                          <a:cs typeface="Arial" charset="0"/>
                        </a:rPr>
                        <a:t>TBC</a:t>
                      </a:r>
                    </a:p>
                  </a:txBody>
                  <a:tcPr marL="91449" marR="91449" marT="45711" marB="4571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folHlin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48132" name="BainBulletsConfiguration" hidden="1">
            <a:extLst>
              <a:ext uri="{FF2B5EF4-FFF2-40B4-BE49-F238E27FC236}">
                <a16:creationId xmlns:a16="http://schemas.microsoft.com/office/drawing/2014/main" id="{4B0E3CD1-5776-405E-B31C-162BD07194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36701" y="12701"/>
            <a:ext cx="65" cy="1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fr-FR" sz="1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8027950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iDueSidel copy.jp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38648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0" y="-397658"/>
            <a:ext cx="12191999" cy="6785844"/>
          </a:xfrm>
          <a:prstGeom prst="rect">
            <a:avLst/>
          </a:prstGeom>
          <a:gradFill flip="none" rotWithShape="1">
            <a:gsLst>
              <a:gs pos="7000">
                <a:schemeClr val="tx1">
                  <a:alpha val="66000"/>
                </a:schemeClr>
              </a:gs>
              <a:gs pos="61000">
                <a:srgbClr val="FFFFFF">
                  <a:alpha val="0"/>
                </a:srgbClr>
              </a:gs>
            </a:gsLst>
            <a:lin ang="1854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err="1"/>
          </a:p>
        </p:txBody>
      </p:sp>
      <p:sp>
        <p:nvSpPr>
          <p:cNvPr id="6" name="Parallelogramm 4">
            <a:extLst>
              <a:ext uri="{FF2B5EF4-FFF2-40B4-BE49-F238E27FC236}">
                <a16:creationId xmlns:a16="http://schemas.microsoft.com/office/drawing/2014/main" id="{7E7412C9-B413-4A6C-844A-4E6145761262}"/>
              </a:ext>
            </a:extLst>
          </p:cNvPr>
          <p:cNvSpPr>
            <a:spLocks/>
          </p:cNvSpPr>
          <p:nvPr/>
        </p:nvSpPr>
        <p:spPr bwMode="gray">
          <a:xfrm>
            <a:off x="-305665" y="5081155"/>
            <a:ext cx="12025313" cy="344488"/>
          </a:xfrm>
          <a:prstGeom prst="parallelogram">
            <a:avLst>
              <a:gd name="adj" fmla="val 32248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 err="1"/>
          </a:p>
        </p:txBody>
      </p:sp>
      <p:sp>
        <p:nvSpPr>
          <p:cNvPr id="7" name="Titolo 3">
            <a:extLst>
              <a:ext uri="{FF2B5EF4-FFF2-40B4-BE49-F238E27FC236}">
                <a16:creationId xmlns:a16="http://schemas.microsoft.com/office/drawing/2014/main" id="{710A0C2E-FD65-46EF-B2CC-61E0E21CB8AE}"/>
              </a:ext>
            </a:extLst>
          </p:cNvPr>
          <p:cNvSpPr txBox="1">
            <a:spLocks/>
          </p:cNvSpPr>
          <p:nvPr/>
        </p:nvSpPr>
        <p:spPr>
          <a:xfrm>
            <a:off x="846137" y="3839305"/>
            <a:ext cx="7653807" cy="10525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3800" dirty="0">
                <a:solidFill>
                  <a:srgbClr val="FFFFFF"/>
                </a:solidFill>
                <a:latin typeface="Arial Nova Cond" panose="020B0506020202020204" pitchFamily="34" charset="0"/>
              </a:rPr>
              <a:t>Contact your </a:t>
            </a:r>
          </a:p>
          <a:p>
            <a:pPr>
              <a:lnSpc>
                <a:spcPct val="90000"/>
              </a:lnSpc>
            </a:pPr>
            <a:r>
              <a:rPr lang="en-US" sz="3800" dirty="0">
                <a:solidFill>
                  <a:srgbClr val="FFFFFF"/>
                </a:solidFill>
                <a:latin typeface="Arial Nova Cond" panose="020B0506020202020204" pitchFamily="34" charset="0"/>
              </a:rPr>
              <a:t>Service Account Manager now</a:t>
            </a:r>
            <a:endParaRPr lang="it-IT" sz="3800" dirty="0">
              <a:solidFill>
                <a:srgbClr val="FFFFFF"/>
              </a:solidFill>
              <a:latin typeface="Arial Nova Cond" panose="020B0506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CD80C0D-2024-4041-B531-024C6F0E3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368614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7076051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3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_QIH_o9UKGIGQUtQPl6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K.TUWmz0Cp8MZ_pxsKA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_QIH_o9UKGIGQUtQPl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K.TUWmz0Cp8MZ_pxsKA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Sidel_Template_4x3_with add layouts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16x9" id="{A098592D-B958-4201-9F7A-F56BD286F0F5}" vid="{18881033-C2EC-44D5-BF8A-51D73B1B5DB0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F4BE121F6E1B04588F1E5E9C33B4515" ma:contentTypeVersion="15" ma:contentTypeDescription="Create a new document." ma:contentTypeScope="" ma:versionID="e629f3348c623ff52b32f297b66dbdb5">
  <xsd:schema xmlns:xsd="http://www.w3.org/2001/XMLSchema" xmlns:xs="http://www.w3.org/2001/XMLSchema" xmlns:p="http://schemas.microsoft.com/office/2006/metadata/properties" xmlns:ns2="626daeae-fdbe-421c-89c1-698ddb989d06" xmlns:ns3="75d0608f-a523-409e-b9e4-b87e2a8603bf" targetNamespace="http://schemas.microsoft.com/office/2006/metadata/properties" ma:root="true" ma:fieldsID="294fbef64ee8adc2e56ce1160febc158" ns2:_="" ns3:_="">
    <xsd:import namespace="626daeae-fdbe-421c-89c1-698ddb989d06"/>
    <xsd:import namespace="75d0608f-a523-409e-b9e4-b87e2a8603bf"/>
    <xsd:element name="properties">
      <xsd:complexType>
        <xsd:sequence>
          <xsd:element name="documentManagement">
            <xsd:complexType>
              <xsd:all>
                <xsd:element ref="ns2:Comments" minOccurs="0"/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6daeae-fdbe-421c-89c1-698ddb989d06" elementFormDefault="qualified">
    <xsd:import namespace="http://schemas.microsoft.com/office/2006/documentManagement/types"/>
    <xsd:import namespace="http://schemas.microsoft.com/office/infopath/2007/PartnerControls"/>
    <xsd:element name="Comments" ma:index="2" nillable="true" ma:displayName="Comments" ma:internalName="Comments" ma:readOnly="false">
      <xsd:simpleType>
        <xsd:restriction base="dms:Note">
          <xsd:maxLength value="255"/>
        </xsd:restriction>
      </xsd:simple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hidden="true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hidden="true" ma:internalName="MediaServiceOCR" ma:readOnly="true">
      <xsd:simpleType>
        <xsd:restriction base="dms:Note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852679c2-c04b-4011-ba15-776f13b0ba2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d0608f-a523-409e-b9e4-b87e2a8603bf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f6cecc22-1c44-4cec-91de-baaaa1be64a4}" ma:internalName="TaxCatchAll" ma:showField="CatchAllData" ma:web="75d0608f-a523-409e-b9e4-b87e2a8603b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 xmlns="626daeae-fdbe-421c-89c1-698ddb989d06">SF042 - reworked ppt in 16:9. Details and description from tech dept ppt
</Comments>
    <TaxCatchAll xmlns="75d0608f-a523-409e-b9e4-b87e2a8603bf" xsi:nil="true"/>
    <lcf76f155ced4ddcb4097134ff3c332f xmlns="626daeae-fdbe-421c-89c1-698ddb989d06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C4B1FB1B-52A0-4452-B58F-D02441E0E0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6daeae-fdbe-421c-89c1-698ddb989d06"/>
    <ds:schemaRef ds:uri="75d0608f-a523-409e-b9e4-b87e2a8603b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0BD241B-0A88-4F8B-8D7A-2E9F06996A2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15A4401-86FC-43EE-847F-C8EB8A9FF788}">
  <ds:schemaRefs>
    <ds:schemaRef ds:uri="http://schemas.microsoft.com/office/2006/metadata/properties"/>
    <ds:schemaRef ds:uri="http://schemas.microsoft.com/office/infopath/2007/PartnerControls"/>
    <ds:schemaRef ds:uri="626daeae-fdbe-421c-89c1-698ddb989d06"/>
    <ds:schemaRef ds:uri="75d0608f-a523-409e-b9e4-b87e2a8603bf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781</TotalTime>
  <Words>270</Words>
  <Application>Microsoft Office PowerPoint</Application>
  <PresentationFormat>Widescreen</PresentationFormat>
  <Paragraphs>68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Arial Nova Cond</vt:lpstr>
      <vt:lpstr>Wingdings</vt:lpstr>
      <vt:lpstr>1_NewSidel_Template_4x3_with add layouts</vt:lpstr>
      <vt:lpstr>think-cell Folie</vt:lpstr>
      <vt:lpstr>Neck ventilation at the end of the oven</vt:lpstr>
      <vt:lpstr>Service package: all you can need!</vt:lpstr>
      <vt:lpstr>PowerPoint Presentation</vt:lpstr>
      <vt:lpstr>PowerPoint Presentation</vt:lpstr>
      <vt:lpstr>Neck finish under control</vt:lpstr>
      <vt:lpstr>Neck ventilation at the end of the oven :</vt:lpstr>
      <vt:lpstr>PowerPoint Presentation</vt:lpstr>
      <vt:lpstr>PowerPoint Presentation</vt:lpstr>
      <vt:lpstr>PowerPoint Presentatio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tions catalogue for EvoBLOW</dc:title>
  <dc:creator>Garreau, Emmanuel</dc:creator>
  <cp:lastModifiedBy>Pomo, Claudio</cp:lastModifiedBy>
  <cp:revision>410</cp:revision>
  <cp:lastPrinted>2020-09-30T08:10:23Z</cp:lastPrinted>
  <dcterms:created xsi:type="dcterms:W3CDTF">2017-11-16T13:47:10Z</dcterms:created>
  <dcterms:modified xsi:type="dcterms:W3CDTF">2023-04-18T14:5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ContentTypeId">
    <vt:lpwstr>0x0101002F4BE121F6E1B04588F1E5E9C33B4515</vt:lpwstr>
  </property>
  <property fmtid="{D5CDD505-2E9C-101B-9397-08002B2CF9AE}" pid="5" name="Order">
    <vt:r8>94600</vt:r8>
  </property>
  <property fmtid="{D5CDD505-2E9C-101B-9397-08002B2CF9AE}" pid="6" name="xd_Signature">
    <vt:bool>false</vt:bool>
  </property>
  <property fmtid="{D5CDD505-2E9C-101B-9397-08002B2CF9AE}" pid="7" name="xd_ProgID">
    <vt:lpwstr/>
  </property>
  <property fmtid="{D5CDD505-2E9C-101B-9397-08002B2CF9AE}" pid="8" name="TemplateUrl">
    <vt:lpwstr/>
  </property>
  <property fmtid="{D5CDD505-2E9C-101B-9397-08002B2CF9AE}" pid="9" name="ComplianceAssetId">
    <vt:lpwstr/>
  </property>
  <property fmtid="{D5CDD505-2E9C-101B-9397-08002B2CF9AE}" pid="10" name="MSIP_Label_94480757-a570-4f64-84e7-c5b3ffe9d573_Enabled">
    <vt:lpwstr>true</vt:lpwstr>
  </property>
  <property fmtid="{D5CDD505-2E9C-101B-9397-08002B2CF9AE}" pid="11" name="MSIP_Label_94480757-a570-4f64-84e7-c5b3ffe9d573_SetDate">
    <vt:lpwstr>2021-11-16T14:21:56Z</vt:lpwstr>
  </property>
  <property fmtid="{D5CDD505-2E9C-101B-9397-08002B2CF9AE}" pid="12" name="MSIP_Label_94480757-a570-4f64-84e7-c5b3ffe9d573_Method">
    <vt:lpwstr>Privileged</vt:lpwstr>
  </property>
  <property fmtid="{D5CDD505-2E9C-101B-9397-08002B2CF9AE}" pid="13" name="MSIP_Label_94480757-a570-4f64-84e7-c5b3ffe9d573_Name">
    <vt:lpwstr>General</vt:lpwstr>
  </property>
  <property fmtid="{D5CDD505-2E9C-101B-9397-08002B2CF9AE}" pid="14" name="MSIP_Label_94480757-a570-4f64-84e7-c5b3ffe9d573_SiteId">
    <vt:lpwstr>2390cbd1-e663-4321-bc93-ba298637ce52</vt:lpwstr>
  </property>
  <property fmtid="{D5CDD505-2E9C-101B-9397-08002B2CF9AE}" pid="15" name="MSIP_Label_94480757-a570-4f64-84e7-c5b3ffe9d573_ActionId">
    <vt:lpwstr>adbdfa03-83ed-4478-b184-46328badba32</vt:lpwstr>
  </property>
  <property fmtid="{D5CDD505-2E9C-101B-9397-08002B2CF9AE}" pid="16" name="MSIP_Label_94480757-a570-4f64-84e7-c5b3ffe9d573_ContentBits">
    <vt:lpwstr>2</vt:lpwstr>
  </property>
  <property fmtid="{D5CDD505-2E9C-101B-9397-08002B2CF9AE}" pid="17" name="MediaServiceImageTags">
    <vt:lpwstr/>
  </property>
</Properties>
</file>